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heme/themeOverride1.xml" ContentType="application/vnd.openxmlformats-officedocument.themeOverr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notesSlides/notesSlide1.xml" ContentType="application/vnd.openxmlformats-officedocument.presentationml.notesSlide+xml"/>
  <Override PartName="/ppt/charts/chart2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1113" r:id="rId2"/>
    <p:sldId id="1114" r:id="rId3"/>
    <p:sldId id="1115" r:id="rId4"/>
    <p:sldId id="1116" r:id="rId5"/>
    <p:sldId id="1117" r:id="rId6"/>
    <p:sldId id="1084" r:id="rId7"/>
    <p:sldId id="1085" r:id="rId8"/>
    <p:sldId id="1107" r:id="rId9"/>
    <p:sldId id="1108" r:id="rId10"/>
    <p:sldId id="1112" r:id="rId11"/>
  </p:sldIdLst>
  <p:sldSz cx="12192000" cy="6858000"/>
  <p:notesSz cx="6797675" cy="9926638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4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n Curkovic" initials="MC" lastIdx="2" clrIdx="0">
    <p:extLst>
      <p:ext uri="{19B8F6BF-5375-455C-9EA6-DF929625EA0E}">
        <p15:presenceInfo xmlns:p15="http://schemas.microsoft.com/office/powerpoint/2012/main" userId="b3cc2e52765cba1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EC0ED"/>
    <a:srgbClr val="FF7C80"/>
    <a:srgbClr val="75829A"/>
    <a:srgbClr val="0070C0"/>
    <a:srgbClr val="00B0F0"/>
    <a:srgbClr val="FF5050"/>
    <a:srgbClr val="007787"/>
    <a:srgbClr val="2EC4B6"/>
    <a:srgbClr val="C7990B"/>
    <a:srgbClr val="2F35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260" autoAdjust="0"/>
    <p:restoredTop sz="97579" autoAdjust="0"/>
  </p:normalViewPr>
  <p:slideViewPr>
    <p:cSldViewPr snapToGrid="0">
      <p:cViewPr varScale="1">
        <p:scale>
          <a:sx n="111" d="100"/>
          <a:sy n="111" d="100"/>
        </p:scale>
        <p:origin x="1092" y="96"/>
      </p:cViewPr>
      <p:guideLst>
        <p:guide orient="horz" pos="404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1973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A$1:$B$1</c:f>
              <c:strCache>
                <c:ptCount val="1"/>
                <c:pt idx="0">
                  <c:v>  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BAC-4D11-981A-CD05D3A32FC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BAC-4D11-981A-CD05D3A32FC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BAC-4D11-981A-CD05D3A32FC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BAC-4D11-981A-CD05D3A32FC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EBAC-4D11-981A-CD05D3A32FC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BAC-4D11-981A-CD05D3A32FC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EBAC-4D11-981A-CD05D3A32FC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EBAC-4D11-981A-CD05D3A32FC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EBAC-4D11-981A-CD05D3A32FC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EBAC-4D11-981A-CD05D3A32FC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19507100000000002</c:v>
                </c:pt>
                <c:pt idx="1">
                  <c:v>0.187471</c:v>
                </c:pt>
                <c:pt idx="2">
                  <c:v>0.122071</c:v>
                </c:pt>
                <c:pt idx="3">
                  <c:v>7.8417000000000001E-2</c:v>
                </c:pt>
                <c:pt idx="4">
                  <c:v>5.2732000000000001E-2</c:v>
                </c:pt>
                <c:pt idx="5">
                  <c:v>3.2919000000000004E-2</c:v>
                </c:pt>
                <c:pt idx="6">
                  <c:v>2.4958000000000001E-2</c:v>
                </c:pt>
                <c:pt idx="7">
                  <c:v>1.7512E-2</c:v>
                </c:pt>
                <c:pt idx="8">
                  <c:v>1.7266E-2</c:v>
                </c:pt>
                <c:pt idx="9">
                  <c:v>1.554E-2</c:v>
                </c:pt>
                <c:pt idx="10">
                  <c:v>1.2461999999999999E-2</c:v>
                </c:pt>
                <c:pt idx="11">
                  <c:v>1.1567000000000001E-2</c:v>
                </c:pt>
                <c:pt idx="12">
                  <c:v>1.1228E-2</c:v>
                </c:pt>
                <c:pt idx="13">
                  <c:v>1.0899000000000001E-2</c:v>
                </c:pt>
                <c:pt idx="14">
                  <c:v>9.809999999999999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BAC-4D11-981A-CD05D3A32F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@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400000000000000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85A-43CA-8785-9788C0598193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585A-43CA-8785-9788C0598193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585A-43CA-8785-9788C059819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585A-43CA-8785-9788C059819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585A-43CA-8785-9788C0598193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585A-43CA-8785-9788C0598193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585A-43CA-8785-9788C0598193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585A-43CA-8785-9788C0598193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585A-43CA-8785-9788C059819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585A-43CA-8785-9788C0598193}"/>
              </c:ext>
            </c:extLst>
          </c:dPt>
          <c:dLbls>
            <c:dLbl>
              <c:idx val="0"/>
              <c:layout>
                <c:manualLayout>
                  <c:x val="6.7841880341880344E-3"/>
                  <c:y val="1.2480410213280497E-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85A-43CA-8785-9788C0598193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16009899999999999</c:v>
                </c:pt>
                <c:pt idx="1">
                  <c:v>0.13095200000000001</c:v>
                </c:pt>
                <c:pt idx="2">
                  <c:v>8.1529000000000004E-2</c:v>
                </c:pt>
                <c:pt idx="3">
                  <c:v>6.7635000000000001E-2</c:v>
                </c:pt>
                <c:pt idx="4">
                  <c:v>6.6749000000000003E-2</c:v>
                </c:pt>
                <c:pt idx="5">
                  <c:v>6.5215999999999996E-2</c:v>
                </c:pt>
                <c:pt idx="6">
                  <c:v>6.1893999999999998E-2</c:v>
                </c:pt>
                <c:pt idx="7">
                  <c:v>5.8585000000000005E-2</c:v>
                </c:pt>
                <c:pt idx="8">
                  <c:v>4.9626999999999998E-2</c:v>
                </c:pt>
                <c:pt idx="9">
                  <c:v>4.3954000000000007E-2</c:v>
                </c:pt>
                <c:pt idx="10">
                  <c:v>4.0791000000000001E-2</c:v>
                </c:pt>
                <c:pt idx="11">
                  <c:v>3.7314E-2</c:v>
                </c:pt>
                <c:pt idx="12">
                  <c:v>3.5968E-2</c:v>
                </c:pt>
                <c:pt idx="13">
                  <c:v>3.3817E-2</c:v>
                </c:pt>
                <c:pt idx="14">
                  <c:v>3.2433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85A-43CA-8785-9788C05981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8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FBC-4BAD-A99B-C37C4BDD7071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FBC-4BAD-A99B-C37C4BDD7071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AFBC-4BAD-A99B-C37C4BDD7071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FBC-4BAD-A99B-C37C4BDD7071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AFBC-4BAD-A99B-C37C4BDD7071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FBC-4BAD-A99B-C37C4BDD7071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AFBC-4BAD-A99B-C37C4BDD7071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FBC-4BAD-A99B-C37C4BDD7071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AFBC-4BAD-A99B-C37C4BDD7071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AFBC-4BAD-A99B-C37C4BDD7071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23236000000000001</c:v>
                </c:pt>
                <c:pt idx="1">
                  <c:v>0.24452400000000002</c:v>
                </c:pt>
                <c:pt idx="2">
                  <c:v>0.124003</c:v>
                </c:pt>
                <c:pt idx="3">
                  <c:v>0.122836</c:v>
                </c:pt>
                <c:pt idx="4">
                  <c:v>0.12862099999999999</c:v>
                </c:pt>
                <c:pt idx="5">
                  <c:v>9.3958E-2</c:v>
                </c:pt>
                <c:pt idx="6">
                  <c:v>8.9536000000000004E-2</c:v>
                </c:pt>
                <c:pt idx="7">
                  <c:v>0.14035900000000001</c:v>
                </c:pt>
                <c:pt idx="8">
                  <c:v>9.0001999999999999E-2</c:v>
                </c:pt>
                <c:pt idx="9">
                  <c:v>7.7686000000000005E-2</c:v>
                </c:pt>
                <c:pt idx="10">
                  <c:v>4.6990999999999998E-2</c:v>
                </c:pt>
                <c:pt idx="11">
                  <c:v>7.0358000000000004E-2</c:v>
                </c:pt>
                <c:pt idx="12">
                  <c:v>0.11218500000000001</c:v>
                </c:pt>
                <c:pt idx="13">
                  <c:v>5.6405000000000004E-2</c:v>
                </c:pt>
                <c:pt idx="14">
                  <c:v>6.7774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FBC-4BAD-A99B-C37C4BDD70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9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3C2-4F89-AB23-1D708E5403FB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3C2-4F89-AB23-1D708E5403FB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3C2-4F89-AB23-1D708E5403FB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3C2-4F89-AB23-1D708E5403FB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3C2-4F89-AB23-1D708E5403FB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3C2-4F89-AB23-1D708E5403FB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3C2-4F89-AB23-1D708E5403FB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3C2-4F89-AB23-1D708E5403FB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3C2-4F89-AB23-1D708E5403FB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3C2-4F89-AB23-1D708E5403FB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359014</c:v>
                </c:pt>
                <c:pt idx="1">
                  <c:v>0.307278</c:v>
                </c:pt>
                <c:pt idx="2">
                  <c:v>0.21394300000000002</c:v>
                </c:pt>
                <c:pt idx="3">
                  <c:v>0.20815</c:v>
                </c:pt>
                <c:pt idx="4">
                  <c:v>0.18438099999999999</c:v>
                </c:pt>
                <c:pt idx="5">
                  <c:v>0.21474499999999999</c:v>
                </c:pt>
                <c:pt idx="6">
                  <c:v>0.17488900000000002</c:v>
                </c:pt>
                <c:pt idx="7">
                  <c:v>0.137155</c:v>
                </c:pt>
                <c:pt idx="8">
                  <c:v>0.14996700000000002</c:v>
                </c:pt>
                <c:pt idx="9">
                  <c:v>0.11349999999999999</c:v>
                </c:pt>
                <c:pt idx="10">
                  <c:v>0.17011399999999999</c:v>
                </c:pt>
                <c:pt idx="11">
                  <c:v>0.154917</c:v>
                </c:pt>
                <c:pt idx="12">
                  <c:v>8.4205000000000002E-2</c:v>
                </c:pt>
                <c:pt idx="13">
                  <c:v>0.121354</c:v>
                </c:pt>
                <c:pt idx="14">
                  <c:v>0.12239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3C2-4F89-AB23-1D708E5403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100000000000000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10236100000000001</c:v>
                </c:pt>
                <c:pt idx="1">
                  <c:v>6.1588000000000004E-2</c:v>
                </c:pt>
                <c:pt idx="2">
                  <c:v>5.1715999999999998E-2</c:v>
                </c:pt>
                <c:pt idx="3">
                  <c:v>2.4906999999999999E-2</c:v>
                </c:pt>
                <c:pt idx="4">
                  <c:v>1.9811000000000002E-2</c:v>
                </c:pt>
                <c:pt idx="5">
                  <c:v>1.3429999999999999E-2</c:v>
                </c:pt>
                <c:pt idx="6">
                  <c:v>1.0588999999999999E-2</c:v>
                </c:pt>
                <c:pt idx="7">
                  <c:v>4.7360000000000006E-3</c:v>
                </c:pt>
                <c:pt idx="8">
                  <c:v>4.3150000000000003E-3</c:v>
                </c:pt>
                <c:pt idx="9">
                  <c:v>4.0270000000000002E-3</c:v>
                </c:pt>
                <c:pt idx="10">
                  <c:v>3.9150000000000001E-3</c:v>
                </c:pt>
                <c:pt idx="11">
                  <c:v>3.7439999999999999E-3</c:v>
                </c:pt>
                <c:pt idx="12">
                  <c:v>2.98E-3</c:v>
                </c:pt>
                <c:pt idx="13">
                  <c:v>2.7669999999999999E-3</c:v>
                </c:pt>
                <c:pt idx="14">
                  <c:v>2.61299999999999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69947400000000004</c:v>
                </c:pt>
                <c:pt idx="1">
                  <c:v>0.66664299999999999</c:v>
                </c:pt>
                <c:pt idx="2">
                  <c:v>0.67512499999999998</c:v>
                </c:pt>
                <c:pt idx="3">
                  <c:v>0.65525699999999998</c:v>
                </c:pt>
                <c:pt idx="4">
                  <c:v>0.58401000000000003</c:v>
                </c:pt>
                <c:pt idx="5">
                  <c:v>0.36002899999999999</c:v>
                </c:pt>
                <c:pt idx="6">
                  <c:v>0.37016100000000002</c:v>
                </c:pt>
                <c:pt idx="7">
                  <c:v>0.37872</c:v>
                </c:pt>
                <c:pt idx="8">
                  <c:v>0.43528599999999995</c:v>
                </c:pt>
                <c:pt idx="9">
                  <c:v>0.120116</c:v>
                </c:pt>
                <c:pt idx="10">
                  <c:v>0.28990300000000002</c:v>
                </c:pt>
                <c:pt idx="11">
                  <c:v>0.37693700000000002</c:v>
                </c:pt>
                <c:pt idx="12">
                  <c:v>0.46808500000000003</c:v>
                </c:pt>
                <c:pt idx="13">
                  <c:v>0.42970399999999997</c:v>
                </c:pt>
                <c:pt idx="14">
                  <c:v>9.313299999999999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A$1:$B$1</c:f>
              <c:strCache>
                <c:ptCount val="1"/>
                <c:pt idx="0">
                  <c:v>  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823-4B8D-8BC6-5D7B186A7413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823-4B8D-8BC6-5D7B186A7413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823-4B8D-8BC6-5D7B186A741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823-4B8D-8BC6-5D7B186A741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4823-4B8D-8BC6-5D7B186A7413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4823-4B8D-8BC6-5D7B186A7413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4823-4B8D-8BC6-5D7B186A7413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4823-4B8D-8BC6-5D7B186A7413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4823-4B8D-8BC6-5D7B186A741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4823-4B8D-8BC6-5D7B186A741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27196399999999998</c:v>
                </c:pt>
                <c:pt idx="1">
                  <c:v>0.16556899999999999</c:v>
                </c:pt>
                <c:pt idx="2">
                  <c:v>0.13855600000000001</c:v>
                </c:pt>
                <c:pt idx="3">
                  <c:v>6.6699999999999995E-2</c:v>
                </c:pt>
                <c:pt idx="4">
                  <c:v>5.2743000000000005E-2</c:v>
                </c:pt>
                <c:pt idx="5">
                  <c:v>3.594E-2</c:v>
                </c:pt>
                <c:pt idx="6">
                  <c:v>2.6696000000000001E-2</c:v>
                </c:pt>
                <c:pt idx="7">
                  <c:v>1.2719000000000001E-2</c:v>
                </c:pt>
                <c:pt idx="8">
                  <c:v>1.1498E-2</c:v>
                </c:pt>
                <c:pt idx="9">
                  <c:v>1.0924E-2</c:v>
                </c:pt>
                <c:pt idx="10">
                  <c:v>1.0471999999999999E-2</c:v>
                </c:pt>
                <c:pt idx="11">
                  <c:v>1.0086999999999999E-2</c:v>
                </c:pt>
                <c:pt idx="12">
                  <c:v>8.1220000000000007E-3</c:v>
                </c:pt>
                <c:pt idx="13">
                  <c:v>7.5949999999999993E-3</c:v>
                </c:pt>
                <c:pt idx="14">
                  <c:v>7.0330000000000002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823-4B8D-8BC6-5D7B186A74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30000000000000004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2.6696000000000001E-2</c:v>
                </c:pt>
                <c:pt idx="1">
                  <c:v>1.1498E-2</c:v>
                </c:pt>
                <c:pt idx="2">
                  <c:v>1.0924E-2</c:v>
                </c:pt>
                <c:pt idx="3">
                  <c:v>1.0471999999999999E-2</c:v>
                </c:pt>
                <c:pt idx="4">
                  <c:v>1.0086999999999999E-2</c:v>
                </c:pt>
                <c:pt idx="5">
                  <c:v>7.0330000000000002E-3</c:v>
                </c:pt>
                <c:pt idx="6">
                  <c:v>6.5550000000000001E-3</c:v>
                </c:pt>
                <c:pt idx="7">
                  <c:v>6.0750000000000005E-3</c:v>
                </c:pt>
                <c:pt idx="8">
                  <c:v>5.078E-3</c:v>
                </c:pt>
                <c:pt idx="9">
                  <c:v>4.986E-3</c:v>
                </c:pt>
                <c:pt idx="10">
                  <c:v>4.9690000000000003E-3</c:v>
                </c:pt>
                <c:pt idx="11">
                  <c:v>4.6930000000000001E-3</c:v>
                </c:pt>
                <c:pt idx="12">
                  <c:v>4.4320000000000002E-3</c:v>
                </c:pt>
                <c:pt idx="13">
                  <c:v>4.4080000000000005E-3</c:v>
                </c:pt>
                <c:pt idx="14">
                  <c:v>4.294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400000000000000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1.0588999999999999E-2</c:v>
                </c:pt>
                <c:pt idx="1">
                  <c:v>4.3150000000000003E-3</c:v>
                </c:pt>
                <c:pt idx="2">
                  <c:v>4.0270000000000002E-3</c:v>
                </c:pt>
                <c:pt idx="3">
                  <c:v>3.9150000000000001E-3</c:v>
                </c:pt>
                <c:pt idx="4">
                  <c:v>3.7439999999999999E-3</c:v>
                </c:pt>
                <c:pt idx="5">
                  <c:v>2.6129999999999999E-3</c:v>
                </c:pt>
                <c:pt idx="6">
                  <c:v>2.4650000000000002E-3</c:v>
                </c:pt>
                <c:pt idx="7">
                  <c:v>2.2899999999999999E-3</c:v>
                </c:pt>
                <c:pt idx="8">
                  <c:v>1.89E-3</c:v>
                </c:pt>
                <c:pt idx="9">
                  <c:v>1.8679999999999999E-3</c:v>
                </c:pt>
                <c:pt idx="10">
                  <c:v>1.8509999999999998E-3</c:v>
                </c:pt>
                <c:pt idx="11">
                  <c:v>1.756E-3</c:v>
                </c:pt>
                <c:pt idx="12">
                  <c:v>1.6150000000000001E-3</c:v>
                </c:pt>
                <c:pt idx="13">
                  <c:v>1.6370000000000002E-3</c:v>
                </c:pt>
                <c:pt idx="14">
                  <c:v>1.618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37016100000000002</c:v>
                </c:pt>
                <c:pt idx="1">
                  <c:v>0.43528599999999995</c:v>
                </c:pt>
                <c:pt idx="2">
                  <c:v>0.120116</c:v>
                </c:pt>
                <c:pt idx="3">
                  <c:v>0.28990300000000002</c:v>
                </c:pt>
                <c:pt idx="4">
                  <c:v>0.37693700000000002</c:v>
                </c:pt>
                <c:pt idx="5">
                  <c:v>9.3132999999999994E-2</c:v>
                </c:pt>
                <c:pt idx="6">
                  <c:v>0.223797</c:v>
                </c:pt>
                <c:pt idx="7">
                  <c:v>0.13760899999999998</c:v>
                </c:pt>
                <c:pt idx="8">
                  <c:v>0.25932300000000003</c:v>
                </c:pt>
                <c:pt idx="9">
                  <c:v>0.34249299999999999</c:v>
                </c:pt>
                <c:pt idx="10">
                  <c:v>0.24241099999999999</c:v>
                </c:pt>
                <c:pt idx="11">
                  <c:v>0.31438300000000002</c:v>
                </c:pt>
                <c:pt idx="12">
                  <c:v>0.25863700000000001</c:v>
                </c:pt>
                <c:pt idx="13">
                  <c:v>0.23804999999999998</c:v>
                </c:pt>
                <c:pt idx="14">
                  <c:v>0.282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dLbl>
              <c:idx val="0"/>
              <c:layout>
                <c:manualLayout>
                  <c:x val="6.7841880341880344E-3"/>
                  <c:y val="1.2480410213280497E-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842-4835-918D-7D6E82709EEF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28329300000000002</c:v>
                </c:pt>
                <c:pt idx="1">
                  <c:v>0.21877500000000003</c:v>
                </c:pt>
                <c:pt idx="2">
                  <c:v>0.17580799999999999</c:v>
                </c:pt>
                <c:pt idx="3">
                  <c:v>0.16009899999999999</c:v>
                </c:pt>
                <c:pt idx="4">
                  <c:v>0.153194</c:v>
                </c:pt>
                <c:pt idx="5">
                  <c:v>0.128691</c:v>
                </c:pt>
                <c:pt idx="6">
                  <c:v>0.12688099999999999</c:v>
                </c:pt>
                <c:pt idx="7">
                  <c:v>0.126225</c:v>
                </c:pt>
                <c:pt idx="8">
                  <c:v>0.11302</c:v>
                </c:pt>
                <c:pt idx="9">
                  <c:v>0.112328</c:v>
                </c:pt>
                <c:pt idx="10">
                  <c:v>0.10578099999999999</c:v>
                </c:pt>
                <c:pt idx="11">
                  <c:v>0.105741</c:v>
                </c:pt>
                <c:pt idx="12">
                  <c:v>0.10369199999999999</c:v>
                </c:pt>
                <c:pt idx="13">
                  <c:v>0.100678</c:v>
                </c:pt>
                <c:pt idx="14">
                  <c:v>9.8991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8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037-4228-9E06-8AD225B283D4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037-4228-9E06-8AD225B283D4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037-4228-9E06-8AD225B283D4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037-4228-9E06-8AD225B283D4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037-4228-9E06-8AD225B283D4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037-4228-9E06-8AD225B283D4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037-4228-9E06-8AD225B283D4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037-4228-9E06-8AD225B283D4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037-4228-9E06-8AD225B283D4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037-4228-9E06-8AD225B283D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3.8008E-2</c:v>
                </c:pt>
                <c:pt idx="1">
                  <c:v>3.6669E-2</c:v>
                </c:pt>
                <c:pt idx="2">
                  <c:v>2.3624999999999997E-2</c:v>
                </c:pt>
                <c:pt idx="3">
                  <c:v>1.5502E-2</c:v>
                </c:pt>
                <c:pt idx="4">
                  <c:v>1.0327999999999999E-2</c:v>
                </c:pt>
                <c:pt idx="5">
                  <c:v>6.4080000000000005E-3</c:v>
                </c:pt>
                <c:pt idx="6">
                  <c:v>4.8320000000000004E-3</c:v>
                </c:pt>
                <c:pt idx="7">
                  <c:v>3.421E-3</c:v>
                </c:pt>
                <c:pt idx="8">
                  <c:v>3.333E-3</c:v>
                </c:pt>
                <c:pt idx="9">
                  <c:v>3.0349999999999999E-3</c:v>
                </c:pt>
                <c:pt idx="10">
                  <c:v>2.444E-3</c:v>
                </c:pt>
                <c:pt idx="11">
                  <c:v>2.398E-3</c:v>
                </c:pt>
                <c:pt idx="12">
                  <c:v>2.183E-3</c:v>
                </c:pt>
                <c:pt idx="13">
                  <c:v>2.1279999999999997E-3</c:v>
                </c:pt>
                <c:pt idx="14">
                  <c:v>1.932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037-4228-9E06-8AD225B283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@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41149999999999998</c:v>
                </c:pt>
                <c:pt idx="1">
                  <c:v>0.358018</c:v>
                </c:pt>
                <c:pt idx="2">
                  <c:v>0.37298299999999995</c:v>
                </c:pt>
                <c:pt idx="3">
                  <c:v>0.23236000000000001</c:v>
                </c:pt>
                <c:pt idx="4">
                  <c:v>0.31057699999999999</c:v>
                </c:pt>
                <c:pt idx="5">
                  <c:v>0.22433499999999998</c:v>
                </c:pt>
                <c:pt idx="6">
                  <c:v>0.266096</c:v>
                </c:pt>
                <c:pt idx="7">
                  <c:v>0.195244</c:v>
                </c:pt>
                <c:pt idx="8">
                  <c:v>0.227987</c:v>
                </c:pt>
                <c:pt idx="9">
                  <c:v>0.30762899999999999</c:v>
                </c:pt>
                <c:pt idx="10">
                  <c:v>0.25667899999999999</c:v>
                </c:pt>
                <c:pt idx="11">
                  <c:v>0.18728400000000001</c:v>
                </c:pt>
                <c:pt idx="12">
                  <c:v>0.23849399999999998</c:v>
                </c:pt>
                <c:pt idx="13">
                  <c:v>0.19417999999999999</c:v>
                </c:pt>
                <c:pt idx="14">
                  <c:v>0.1757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9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61579600000000001</c:v>
                </c:pt>
                <c:pt idx="1">
                  <c:v>0.54958799999999997</c:v>
                </c:pt>
                <c:pt idx="2">
                  <c:v>0.42049900000000001</c:v>
                </c:pt>
                <c:pt idx="3">
                  <c:v>0.359014</c:v>
                </c:pt>
                <c:pt idx="4">
                  <c:v>0.36716700000000002</c:v>
                </c:pt>
                <c:pt idx="5">
                  <c:v>0.36415500000000001</c:v>
                </c:pt>
                <c:pt idx="6">
                  <c:v>0.31515599999999999</c:v>
                </c:pt>
                <c:pt idx="7">
                  <c:v>0.28869900000000004</c:v>
                </c:pt>
                <c:pt idx="8">
                  <c:v>0.27503</c:v>
                </c:pt>
                <c:pt idx="9">
                  <c:v>0.30755299999999997</c:v>
                </c:pt>
                <c:pt idx="10">
                  <c:v>0.28518699999999997</c:v>
                </c:pt>
                <c:pt idx="11">
                  <c:v>0.29212299999999997</c:v>
                </c:pt>
                <c:pt idx="12">
                  <c:v>0.23263500000000001</c:v>
                </c:pt>
                <c:pt idx="13">
                  <c:v>0.29672300000000001</c:v>
                </c:pt>
                <c:pt idx="14">
                  <c:v>0.256424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100000000000000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F10-4C81-BA9D-6A273C743E6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F10-4C81-BA9D-6A273C743E6C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BF10-4C81-BA9D-6A273C743E6C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F10-4C81-BA9D-6A273C743E6C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BF10-4C81-BA9D-6A273C743E6C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F10-4C81-BA9D-6A273C743E6C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BF10-4C81-BA9D-6A273C743E6C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BF10-4C81-BA9D-6A273C743E6C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BF10-4C81-BA9D-6A273C743E6C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BF10-4C81-BA9D-6A273C743E6C}"/>
              </c:ext>
            </c:extLst>
          </c:dPt>
          <c:dLbls>
            <c:dLbl>
              <c:idx val="0"/>
              <c:layout>
                <c:manualLayout>
                  <c:x val="6.7841880341880344E-3"/>
                  <c:y val="8.9515657631515094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F10-4C81-BA9D-6A273C743E6C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16009899999999999</c:v>
                </c:pt>
                <c:pt idx="1">
                  <c:v>6.6749000000000003E-2</c:v>
                </c:pt>
                <c:pt idx="2">
                  <c:v>5.8585000000000005E-2</c:v>
                </c:pt>
                <c:pt idx="3">
                  <c:v>3.5968E-2</c:v>
                </c:pt>
                <c:pt idx="4">
                  <c:v>3.3938999999999997E-2</c:v>
                </c:pt>
                <c:pt idx="5">
                  <c:v>2.5078E-2</c:v>
                </c:pt>
                <c:pt idx="6">
                  <c:v>2.4639000000000001E-2</c:v>
                </c:pt>
                <c:pt idx="7">
                  <c:v>2.2393E-2</c:v>
                </c:pt>
                <c:pt idx="8">
                  <c:v>2.1861000000000002E-2</c:v>
                </c:pt>
                <c:pt idx="9">
                  <c:v>1.8657E-2</c:v>
                </c:pt>
                <c:pt idx="10">
                  <c:v>1.7780000000000001E-2</c:v>
                </c:pt>
                <c:pt idx="11">
                  <c:v>1.6714E-2</c:v>
                </c:pt>
                <c:pt idx="12">
                  <c:v>1.6458999999999998E-2</c:v>
                </c:pt>
                <c:pt idx="13">
                  <c:v>1.5917000000000001E-2</c:v>
                </c:pt>
                <c:pt idx="14">
                  <c:v>1.3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F10-4C81-BA9D-6A273C743E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5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BEF-47E1-A72A-EE3894030E6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BEF-47E1-A72A-EE3894030E6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ABEF-47E1-A72A-EE3894030E6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BEF-47E1-A72A-EE3894030E6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ABEF-47E1-A72A-EE3894030E6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BEF-47E1-A72A-EE3894030E6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ABEF-47E1-A72A-EE3894030E6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BEF-47E1-A72A-EE3894030E6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ABEF-47E1-A72A-EE3894030E6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ABEF-47E1-A72A-EE3894030E6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23236000000000001</c:v>
                </c:pt>
                <c:pt idx="1">
                  <c:v>0.12862099999999999</c:v>
                </c:pt>
                <c:pt idx="2">
                  <c:v>0.14035900000000001</c:v>
                </c:pt>
                <c:pt idx="3">
                  <c:v>0.11218500000000001</c:v>
                </c:pt>
                <c:pt idx="4">
                  <c:v>0.125222</c:v>
                </c:pt>
                <c:pt idx="5">
                  <c:v>6.7942000000000002E-2</c:v>
                </c:pt>
                <c:pt idx="6">
                  <c:v>5.7451000000000002E-2</c:v>
                </c:pt>
                <c:pt idx="7">
                  <c:v>6.2294000000000002E-2</c:v>
                </c:pt>
                <c:pt idx="8">
                  <c:v>4.6253999999999997E-2</c:v>
                </c:pt>
                <c:pt idx="9">
                  <c:v>3.7898999999999995E-2</c:v>
                </c:pt>
                <c:pt idx="10">
                  <c:v>3.9112000000000001E-2</c:v>
                </c:pt>
                <c:pt idx="11">
                  <c:v>4.0984999999999994E-2</c:v>
                </c:pt>
                <c:pt idx="12">
                  <c:v>6.3806000000000002E-2</c:v>
                </c:pt>
                <c:pt idx="13">
                  <c:v>4.0549999999999996E-2</c:v>
                </c:pt>
                <c:pt idx="14">
                  <c:v>5.0151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BEF-47E1-A72A-EE3894030E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9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AC2-40F6-BECF-681B113C7C43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AC2-40F6-BECF-681B113C7C43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6AC2-40F6-BECF-681B113C7C4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6AC2-40F6-BECF-681B113C7C4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AC2-40F6-BECF-681B113C7C43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6AC2-40F6-BECF-681B113C7C43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6AC2-40F6-BECF-681B113C7C43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6AC2-40F6-BECF-681B113C7C43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6AC2-40F6-BECF-681B113C7C4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6AC2-40F6-BECF-681B113C7C43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359014</c:v>
                </c:pt>
                <c:pt idx="1">
                  <c:v>0.18438099999999999</c:v>
                </c:pt>
                <c:pt idx="2">
                  <c:v>0.137155</c:v>
                </c:pt>
                <c:pt idx="3">
                  <c:v>8.4205000000000002E-2</c:v>
                </c:pt>
                <c:pt idx="4">
                  <c:v>8.2832000000000003E-2</c:v>
                </c:pt>
                <c:pt idx="5">
                  <c:v>5.6595000000000006E-2</c:v>
                </c:pt>
                <c:pt idx="6">
                  <c:v>6.4893999999999993E-2</c:v>
                </c:pt>
                <c:pt idx="7">
                  <c:v>5.4443999999999999E-2</c:v>
                </c:pt>
                <c:pt idx="8">
                  <c:v>6.1554999999999999E-2</c:v>
                </c:pt>
                <c:pt idx="9">
                  <c:v>4.2878999999999994E-2</c:v>
                </c:pt>
                <c:pt idx="10">
                  <c:v>4.3247999999999995E-2</c:v>
                </c:pt>
                <c:pt idx="11">
                  <c:v>5.5000999999999994E-2</c:v>
                </c:pt>
                <c:pt idx="12">
                  <c:v>4.1839000000000001E-2</c:v>
                </c:pt>
                <c:pt idx="13">
                  <c:v>4.2743000000000003E-2</c:v>
                </c:pt>
                <c:pt idx="14">
                  <c:v>3.574199999999999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AC2-40F6-BECF-681B113C7C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100000000000000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2!$G$5</c:f>
              <c:strCache>
                <c:ptCount val="1"/>
                <c:pt idx="0">
                  <c:v>AMR</c:v>
                </c:pt>
              </c:strCache>
            </c:strRef>
          </c:tx>
          <c:spPr>
            <a:solidFill>
              <a:srgbClr val="FF7C80"/>
            </a:solidFill>
            <a:ln>
              <a:solidFill>
                <a:srgbClr val="FF5050"/>
              </a:solidFill>
            </a:ln>
            <a:effectLst/>
          </c:spPr>
          <c:invertIfNegative val="0"/>
          <c:cat>
            <c:strRef>
              <c:f>List2!$F$32:$F$44</c:f>
              <c:strCache>
                <c:ptCount val="13"/>
                <c:pt idx="0">
                  <c:v>ožujak '23</c:v>
                </c:pt>
                <c:pt idx="1">
                  <c:v>travanj '23.</c:v>
                </c:pt>
                <c:pt idx="2">
                  <c:v>svibanj '23.</c:v>
                </c:pt>
                <c:pt idx="3">
                  <c:v>lipanj '23.</c:v>
                </c:pt>
                <c:pt idx="4">
                  <c:v>srpanj '23.</c:v>
                </c:pt>
                <c:pt idx="5">
                  <c:v>kolovoz '23.</c:v>
                </c:pt>
                <c:pt idx="6">
                  <c:v>rujan '23</c:v>
                </c:pt>
                <c:pt idx="7">
                  <c:v>listopad '23</c:v>
                </c:pt>
                <c:pt idx="8">
                  <c:v>studeni '23</c:v>
                </c:pt>
                <c:pt idx="9">
                  <c:v>prosinac '23</c:v>
                </c:pt>
                <c:pt idx="10">
                  <c:v>siječanj '24</c:v>
                </c:pt>
                <c:pt idx="11">
                  <c:v>veljača '24.</c:v>
                </c:pt>
                <c:pt idx="12">
                  <c:v>ožujak '24</c:v>
                </c:pt>
              </c:strCache>
            </c:strRef>
          </c:cat>
          <c:val>
            <c:numRef>
              <c:f>List2!$G$32:$G$44</c:f>
              <c:numCache>
                <c:formatCode>0.00%</c:formatCode>
                <c:ptCount val="13"/>
                <c:pt idx="0">
                  <c:v>0.27614499999999997</c:v>
                </c:pt>
                <c:pt idx="1">
                  <c:v>0.27129999999999999</c:v>
                </c:pt>
                <c:pt idx="2">
                  <c:v>0.25769999999999998</c:v>
                </c:pt>
                <c:pt idx="3">
                  <c:v>0.237124</c:v>
                </c:pt>
                <c:pt idx="4">
                  <c:v>0.2157</c:v>
                </c:pt>
                <c:pt idx="5" formatCode="0.0000%">
                  <c:v>0.20300399999999999</c:v>
                </c:pt>
                <c:pt idx="6" formatCode="0.0000%">
                  <c:v>0.22877</c:v>
                </c:pt>
                <c:pt idx="7" formatCode="0.0000%">
                  <c:v>0.23050699999999999</c:v>
                </c:pt>
                <c:pt idx="8" formatCode="0.0000%">
                  <c:v>0.22700000000000001</c:v>
                </c:pt>
                <c:pt idx="9" formatCode="0.0000%">
                  <c:v>0.226968</c:v>
                </c:pt>
                <c:pt idx="10">
                  <c:v>0.22522300000000001</c:v>
                </c:pt>
                <c:pt idx="11" formatCode="0.0000%">
                  <c:v>0.21038299999999999</c:v>
                </c:pt>
                <c:pt idx="12" formatCode="0.0000%">
                  <c:v>0.1956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F3-487F-A522-DF5F6AEBCD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31278224"/>
        <c:axId val="631285712"/>
      </c:barChart>
      <c:lineChart>
        <c:grouping val="standard"/>
        <c:varyColors val="0"/>
        <c:ser>
          <c:idx val="1"/>
          <c:order val="1"/>
          <c:tx>
            <c:strRef>
              <c:f>List2!$H$5</c:f>
              <c:strCache>
                <c:ptCount val="1"/>
                <c:pt idx="0">
                  <c:v>AT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2!$F$32:$F$44</c:f>
              <c:strCache>
                <c:ptCount val="13"/>
                <c:pt idx="0">
                  <c:v>ožujak '23</c:v>
                </c:pt>
                <c:pt idx="1">
                  <c:v>travanj '23.</c:v>
                </c:pt>
                <c:pt idx="2">
                  <c:v>svibanj '23.</c:v>
                </c:pt>
                <c:pt idx="3">
                  <c:v>lipanj '23.</c:v>
                </c:pt>
                <c:pt idx="4">
                  <c:v>srpanj '23.</c:v>
                </c:pt>
                <c:pt idx="5">
                  <c:v>kolovoz '23.</c:v>
                </c:pt>
                <c:pt idx="6">
                  <c:v>rujan '23</c:v>
                </c:pt>
                <c:pt idx="7">
                  <c:v>listopad '23</c:v>
                </c:pt>
                <c:pt idx="8">
                  <c:v>studeni '23</c:v>
                </c:pt>
                <c:pt idx="9">
                  <c:v>prosinac '23</c:v>
                </c:pt>
                <c:pt idx="10">
                  <c:v>siječanj '24</c:v>
                </c:pt>
                <c:pt idx="11">
                  <c:v>veljača '24.</c:v>
                </c:pt>
                <c:pt idx="12">
                  <c:v>ožujak '24</c:v>
                </c:pt>
              </c:strCache>
            </c:strRef>
          </c:cat>
          <c:val>
            <c:numRef>
              <c:f>List2!$H$32:$H$44</c:f>
              <c:numCache>
                <c:formatCode>General</c:formatCode>
                <c:ptCount val="13"/>
                <c:pt idx="0" formatCode="0">
                  <c:v>509</c:v>
                </c:pt>
                <c:pt idx="1">
                  <c:v>517</c:v>
                </c:pt>
                <c:pt idx="2">
                  <c:v>503</c:v>
                </c:pt>
                <c:pt idx="3">
                  <c:v>492</c:v>
                </c:pt>
                <c:pt idx="4">
                  <c:v>479</c:v>
                </c:pt>
                <c:pt idx="5">
                  <c:v>483</c:v>
                </c:pt>
                <c:pt idx="6">
                  <c:v>486</c:v>
                </c:pt>
                <c:pt idx="7">
                  <c:v>492</c:v>
                </c:pt>
                <c:pt idx="8">
                  <c:v>488</c:v>
                </c:pt>
                <c:pt idx="9" formatCode="0">
                  <c:v>495.63333333333333</c:v>
                </c:pt>
                <c:pt idx="10" formatCode="0">
                  <c:v>491.66666666666663</c:v>
                </c:pt>
                <c:pt idx="11" formatCode="0.00">
                  <c:v>465.7</c:v>
                </c:pt>
                <c:pt idx="12" formatCode="0">
                  <c:v>451.916666666666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2F3-487F-A522-DF5F6AEBCD05}"/>
            </c:ext>
          </c:extLst>
        </c:ser>
        <c:ser>
          <c:idx val="2"/>
          <c:order val="2"/>
          <c:tx>
            <c:strRef>
              <c:f>List2!$I$5</c:f>
              <c:strCache>
                <c:ptCount val="1"/>
                <c:pt idx="0">
                  <c:v>ATV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List2!$F$32:$F$44</c:f>
              <c:strCache>
                <c:ptCount val="13"/>
                <c:pt idx="0">
                  <c:v>ožujak '23</c:v>
                </c:pt>
                <c:pt idx="1">
                  <c:v>travanj '23.</c:v>
                </c:pt>
                <c:pt idx="2">
                  <c:v>svibanj '23.</c:v>
                </c:pt>
                <c:pt idx="3">
                  <c:v>lipanj '23.</c:v>
                </c:pt>
                <c:pt idx="4">
                  <c:v>srpanj '23.</c:v>
                </c:pt>
                <c:pt idx="5">
                  <c:v>kolovoz '23.</c:v>
                </c:pt>
                <c:pt idx="6">
                  <c:v>rujan '23</c:v>
                </c:pt>
                <c:pt idx="7">
                  <c:v>listopad '23</c:v>
                </c:pt>
                <c:pt idx="8">
                  <c:v>studeni '23</c:v>
                </c:pt>
                <c:pt idx="9">
                  <c:v>prosinac '23</c:v>
                </c:pt>
                <c:pt idx="10">
                  <c:v>siječanj '24</c:v>
                </c:pt>
                <c:pt idx="11">
                  <c:v>veljača '24.</c:v>
                </c:pt>
                <c:pt idx="12">
                  <c:v>ožujak '24</c:v>
                </c:pt>
              </c:strCache>
            </c:strRef>
          </c:cat>
          <c:val>
            <c:numRef>
              <c:f>List2!$I$32:$I$44</c:f>
              <c:numCache>
                <c:formatCode>General</c:formatCode>
                <c:ptCount val="13"/>
                <c:pt idx="0" formatCode="0">
                  <c:v>397</c:v>
                </c:pt>
                <c:pt idx="1">
                  <c:v>391</c:v>
                </c:pt>
                <c:pt idx="2">
                  <c:v>371</c:v>
                </c:pt>
                <c:pt idx="3">
                  <c:v>341</c:v>
                </c:pt>
                <c:pt idx="4">
                  <c:v>311</c:v>
                </c:pt>
                <c:pt idx="5">
                  <c:v>292</c:v>
                </c:pt>
                <c:pt idx="6">
                  <c:v>329</c:v>
                </c:pt>
                <c:pt idx="7">
                  <c:v>332</c:v>
                </c:pt>
                <c:pt idx="8">
                  <c:v>326</c:v>
                </c:pt>
                <c:pt idx="9" formatCode="0">
                  <c:v>326.83333333333331</c:v>
                </c:pt>
                <c:pt idx="10" formatCode="0">
                  <c:v>324.31666666666666</c:v>
                </c:pt>
                <c:pt idx="11" formatCode="0.00">
                  <c:v>302.95</c:v>
                </c:pt>
                <c:pt idx="12" formatCode="0">
                  <c:v>281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8DC-4A20-A656-5AD349A483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1290704"/>
        <c:axId val="631291120"/>
      </c:lineChart>
      <c:catAx>
        <c:axId val="631290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1291120"/>
        <c:crosses val="autoZero"/>
        <c:auto val="1"/>
        <c:lblAlgn val="ctr"/>
        <c:lblOffset val="100"/>
        <c:noMultiLvlLbl val="0"/>
      </c:catAx>
      <c:valAx>
        <c:axId val="631291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75829A"/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1290704"/>
        <c:crosses val="autoZero"/>
        <c:crossBetween val="between"/>
      </c:valAx>
      <c:valAx>
        <c:axId val="631285712"/>
        <c:scaling>
          <c:orientation val="minMax"/>
        </c:scaling>
        <c:delete val="0"/>
        <c:axPos val="r"/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1278224"/>
        <c:crosses val="max"/>
        <c:crossBetween val="between"/>
      </c:valAx>
      <c:catAx>
        <c:axId val="6312782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312857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9952499017289578"/>
          <c:y val="0.91668902378048001"/>
          <c:w val="0.19148194450218772"/>
          <c:h val="5.07235554991671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2F3-4120-BAF8-2596E600A89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2F3-4120-BAF8-2596E600A89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2F3-4120-BAF8-2596E600A89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2F3-4120-BAF8-2596E600A89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2F3-4120-BAF8-2596E600A89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2F3-4120-BAF8-2596E600A89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2F3-4120-BAF8-2596E600A89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2F3-4120-BAF8-2596E600A89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2F3-4120-BAF8-2596E600A89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2F3-4120-BAF8-2596E600A89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70536699999999997</c:v>
                </c:pt>
                <c:pt idx="1">
                  <c:v>0.712086</c:v>
                </c:pt>
                <c:pt idx="2">
                  <c:v>0.70438400000000001</c:v>
                </c:pt>
                <c:pt idx="3">
                  <c:v>0.69095499999999999</c:v>
                </c:pt>
                <c:pt idx="4">
                  <c:v>0.64861199999999997</c:v>
                </c:pt>
                <c:pt idx="5">
                  <c:v>0.42257800000000001</c:v>
                </c:pt>
                <c:pt idx="6">
                  <c:v>0.55023200000000005</c:v>
                </c:pt>
                <c:pt idx="7">
                  <c:v>0.58097999999999994</c:v>
                </c:pt>
                <c:pt idx="8">
                  <c:v>0.192191</c:v>
                </c:pt>
                <c:pt idx="9">
                  <c:v>0.41001399999999999</c:v>
                </c:pt>
                <c:pt idx="10">
                  <c:v>0.54340699999999997</c:v>
                </c:pt>
                <c:pt idx="11">
                  <c:v>0.34478799999999998</c:v>
                </c:pt>
                <c:pt idx="12">
                  <c:v>0.136102</c:v>
                </c:pt>
                <c:pt idx="13">
                  <c:v>0.49521700000000002</c:v>
                </c:pt>
                <c:pt idx="14">
                  <c:v>0.369797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2F3-4120-BAF8-2596E600A8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@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C6A-4D78-A32B-BA95902AECD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C6A-4D78-A32B-BA95902AECD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C6A-4D78-A32B-BA95902AECD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C6A-4D78-A32B-BA95902AECD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4C6A-4D78-A32B-BA95902AECD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4C6A-4D78-A32B-BA95902AECD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4C6A-4D78-A32B-BA95902AECD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4C6A-4D78-A32B-BA95902AECD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4C6A-4D78-A32B-BA95902AECD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4C6A-4D78-A32B-BA95902AEC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1.7266E-2</c:v>
                </c:pt>
                <c:pt idx="1">
                  <c:v>1.554E-2</c:v>
                </c:pt>
                <c:pt idx="2">
                  <c:v>1.2461999999999999E-2</c:v>
                </c:pt>
                <c:pt idx="3">
                  <c:v>1.1567000000000001E-2</c:v>
                </c:pt>
                <c:pt idx="4">
                  <c:v>1.1228E-2</c:v>
                </c:pt>
                <c:pt idx="5">
                  <c:v>9.8099999999999993E-3</c:v>
                </c:pt>
                <c:pt idx="6">
                  <c:v>8.7399999999999995E-3</c:v>
                </c:pt>
                <c:pt idx="7">
                  <c:v>7.3640000000000008E-3</c:v>
                </c:pt>
                <c:pt idx="8">
                  <c:v>6.7939999999999997E-3</c:v>
                </c:pt>
                <c:pt idx="9">
                  <c:v>6.6839999999999998E-3</c:v>
                </c:pt>
                <c:pt idx="10">
                  <c:v>5.437E-3</c:v>
                </c:pt>
                <c:pt idx="11">
                  <c:v>5.4219999999999997E-3</c:v>
                </c:pt>
                <c:pt idx="12">
                  <c:v>5.2159999999999993E-3</c:v>
                </c:pt>
                <c:pt idx="13">
                  <c:v>5.1719999999999995E-3</c:v>
                </c:pt>
                <c:pt idx="14">
                  <c:v>5.131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C6A-4D78-A32B-BA95902AEC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@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400000000000000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0D8-4233-8AE5-729D3849289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0D8-4233-8AE5-729D3849289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B0D8-4233-8AE5-729D3849289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0D8-4233-8AE5-729D3849289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B0D8-4233-8AE5-729D3849289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0D8-4233-8AE5-729D3849289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B0D8-4233-8AE5-729D3849289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B0D8-4233-8AE5-729D3849289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B0D8-4233-8AE5-729D3849289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B0D8-4233-8AE5-729D3849289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3.333E-3</c:v>
                </c:pt>
                <c:pt idx="1">
                  <c:v>3.0349999999999999E-3</c:v>
                </c:pt>
                <c:pt idx="2">
                  <c:v>2.444E-3</c:v>
                </c:pt>
                <c:pt idx="3">
                  <c:v>2.398E-3</c:v>
                </c:pt>
                <c:pt idx="4">
                  <c:v>2.183E-3</c:v>
                </c:pt>
                <c:pt idx="5">
                  <c:v>1.9320000000000001E-3</c:v>
                </c:pt>
                <c:pt idx="6">
                  <c:v>1.712E-3</c:v>
                </c:pt>
                <c:pt idx="7">
                  <c:v>1.454E-3</c:v>
                </c:pt>
                <c:pt idx="8">
                  <c:v>1.335E-3</c:v>
                </c:pt>
                <c:pt idx="9">
                  <c:v>1.3289999999999999E-3</c:v>
                </c:pt>
                <c:pt idx="10">
                  <c:v>1.0499999999999999E-3</c:v>
                </c:pt>
                <c:pt idx="11">
                  <c:v>1.052E-3</c:v>
                </c:pt>
                <c:pt idx="12">
                  <c:v>1.0199999999999999E-3</c:v>
                </c:pt>
                <c:pt idx="13">
                  <c:v>1.016E-3</c:v>
                </c:pt>
                <c:pt idx="14">
                  <c:v>1.00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0D8-4233-8AE5-729D384928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@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6E2-423D-9C38-FB50B0D9938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6E2-423D-9C38-FB50B0D9938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6E2-423D-9C38-FB50B0D9938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6E2-423D-9C38-FB50B0D9938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E6E2-423D-9C38-FB50B0D9938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6E2-423D-9C38-FB50B0D9938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E6E2-423D-9C38-FB50B0D9938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E6E2-423D-9C38-FB50B0D9938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E6E2-423D-9C38-FB50B0D9938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E6E2-423D-9C38-FB50B0D9938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192191</c:v>
                </c:pt>
                <c:pt idx="1">
                  <c:v>0.41001399999999999</c:v>
                </c:pt>
                <c:pt idx="2">
                  <c:v>0.54340699999999997</c:v>
                </c:pt>
                <c:pt idx="3">
                  <c:v>0.34478799999999998</c:v>
                </c:pt>
                <c:pt idx="4">
                  <c:v>0.136102</c:v>
                </c:pt>
                <c:pt idx="5">
                  <c:v>0.36979799999999996</c:v>
                </c:pt>
                <c:pt idx="6">
                  <c:v>0.48882900000000001</c:v>
                </c:pt>
                <c:pt idx="7">
                  <c:v>0.428205</c:v>
                </c:pt>
                <c:pt idx="8">
                  <c:v>0.29827500000000001</c:v>
                </c:pt>
                <c:pt idx="9">
                  <c:v>0.39128200000000002</c:v>
                </c:pt>
                <c:pt idx="10">
                  <c:v>0.11719499999999999</c:v>
                </c:pt>
                <c:pt idx="11">
                  <c:v>0.35833199999999998</c:v>
                </c:pt>
                <c:pt idx="12">
                  <c:v>0.43475000000000003</c:v>
                </c:pt>
                <c:pt idx="13">
                  <c:v>0.10826000000000001</c:v>
                </c:pt>
                <c:pt idx="14">
                  <c:v>0.422965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6E2-423D-9C38-FB50B0D993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@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F10-49DC-AFA0-577031CF0C43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1F10-49DC-AFA0-577031CF0C43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1F10-49DC-AFA0-577031CF0C4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1F10-49DC-AFA0-577031CF0C4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1F10-49DC-AFA0-577031CF0C43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1F10-49DC-AFA0-577031CF0C43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1F10-49DC-AFA0-577031CF0C43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1F10-49DC-AFA0-577031CF0C43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1F10-49DC-AFA0-577031CF0C4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1F10-49DC-AFA0-577031CF0C43}"/>
              </c:ext>
            </c:extLst>
          </c:dPt>
          <c:dLbls>
            <c:dLbl>
              <c:idx val="0"/>
              <c:layout>
                <c:manualLayout>
                  <c:x val="6.7841880341880344E-3"/>
                  <c:y val="1.2480410213280497E-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F10-49DC-AFA0-577031CF0C43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28329300000000002</c:v>
                </c:pt>
                <c:pt idx="1">
                  <c:v>0.21877500000000003</c:v>
                </c:pt>
                <c:pt idx="2">
                  <c:v>0.194073</c:v>
                </c:pt>
                <c:pt idx="3">
                  <c:v>0.17580799999999999</c:v>
                </c:pt>
                <c:pt idx="4">
                  <c:v>0.16009899999999999</c:v>
                </c:pt>
                <c:pt idx="5">
                  <c:v>0.15449499999999999</c:v>
                </c:pt>
                <c:pt idx="6">
                  <c:v>0.13095200000000001</c:v>
                </c:pt>
                <c:pt idx="7">
                  <c:v>0.128691</c:v>
                </c:pt>
                <c:pt idx="8">
                  <c:v>0.12688099999999999</c:v>
                </c:pt>
                <c:pt idx="9">
                  <c:v>0.126225</c:v>
                </c:pt>
                <c:pt idx="10">
                  <c:v>0.114689</c:v>
                </c:pt>
                <c:pt idx="11">
                  <c:v>0.11302</c:v>
                </c:pt>
                <c:pt idx="12">
                  <c:v>0.112328</c:v>
                </c:pt>
                <c:pt idx="13">
                  <c:v>0.10578099999999999</c:v>
                </c:pt>
                <c:pt idx="14">
                  <c:v>0.1057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F10-49DC-AFA0-577031CF0C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8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A78-44FF-847D-B1E056F10668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A78-44FF-847D-B1E056F10668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A78-44FF-847D-B1E056F10668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A78-44FF-847D-B1E056F10668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A78-44FF-847D-B1E056F10668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A78-44FF-847D-B1E056F10668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A78-44FF-847D-B1E056F10668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A78-44FF-847D-B1E056F10668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A78-44FF-847D-B1E056F10668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A78-44FF-847D-B1E056F1066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41149999999999998</c:v>
                </c:pt>
                <c:pt idx="1">
                  <c:v>0.358018</c:v>
                </c:pt>
                <c:pt idx="2">
                  <c:v>0.21631900000000001</c:v>
                </c:pt>
                <c:pt idx="3">
                  <c:v>0.37298299999999995</c:v>
                </c:pt>
                <c:pt idx="4">
                  <c:v>0.23236000000000001</c:v>
                </c:pt>
                <c:pt idx="5">
                  <c:v>0.170794</c:v>
                </c:pt>
                <c:pt idx="6">
                  <c:v>0.24452400000000002</c:v>
                </c:pt>
                <c:pt idx="7">
                  <c:v>0.22433499999999998</c:v>
                </c:pt>
                <c:pt idx="8">
                  <c:v>0.266096</c:v>
                </c:pt>
                <c:pt idx="9">
                  <c:v>0.195244</c:v>
                </c:pt>
                <c:pt idx="10">
                  <c:v>0.17349799999999999</c:v>
                </c:pt>
                <c:pt idx="11">
                  <c:v>0.227987</c:v>
                </c:pt>
                <c:pt idx="12">
                  <c:v>0.30762899999999999</c:v>
                </c:pt>
                <c:pt idx="13">
                  <c:v>0.25667899999999999</c:v>
                </c:pt>
                <c:pt idx="14">
                  <c:v>0.187284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A78-44FF-847D-B1E056F106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9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6A6-473D-AF57-F8481BC69BC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6A6-473D-AF57-F8481BC69BCA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6A6-473D-AF57-F8481BC69BCA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6A6-473D-AF57-F8481BC69BCA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E6A6-473D-AF57-F8481BC69BCA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6A6-473D-AF57-F8481BC69BCA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E6A6-473D-AF57-F8481BC69BCA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E6A6-473D-AF57-F8481BC69BCA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E6A6-473D-AF57-F8481BC69BCA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E6A6-473D-AF57-F8481BC69BCA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61579600000000001</c:v>
                </c:pt>
                <c:pt idx="1">
                  <c:v>0.54958799999999997</c:v>
                </c:pt>
                <c:pt idx="2">
                  <c:v>0.55107300000000004</c:v>
                </c:pt>
                <c:pt idx="3">
                  <c:v>0.42049900000000001</c:v>
                </c:pt>
                <c:pt idx="4">
                  <c:v>0.359014</c:v>
                </c:pt>
                <c:pt idx="5">
                  <c:v>0.48904800000000004</c:v>
                </c:pt>
                <c:pt idx="6">
                  <c:v>0.307278</c:v>
                </c:pt>
                <c:pt idx="7">
                  <c:v>0.36415500000000001</c:v>
                </c:pt>
                <c:pt idx="8">
                  <c:v>0.31515599999999999</c:v>
                </c:pt>
                <c:pt idx="9">
                  <c:v>0.28869900000000004</c:v>
                </c:pt>
                <c:pt idx="10">
                  <c:v>0.33918500000000001</c:v>
                </c:pt>
                <c:pt idx="11">
                  <c:v>0.27503</c:v>
                </c:pt>
                <c:pt idx="12">
                  <c:v>0.30755299999999997</c:v>
                </c:pt>
                <c:pt idx="13">
                  <c:v>0.28518699999999997</c:v>
                </c:pt>
                <c:pt idx="14">
                  <c:v>0.292122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6A6-473D-AF57-F8481BC69B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100000000000000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513BF5-BA33-4D87-8729-6B6071720883}" type="datetimeFigureOut">
              <a:rPr lang="en-US" smtClean="0"/>
              <a:t>4/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79926C-EB85-43BC-B4A9-DC340E8732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72204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r-HR"/>
              <a:t>TTV-total tv kanali (svi zemaljski i nezemaljski) u </a:t>
            </a:r>
            <a:endParaRPr lang="hr-HR" dirty="0"/>
          </a:p>
          <a:p>
            <a:r>
              <a:rPr lang="hr-HR" dirty="0"/>
              <a:t>AMR</a:t>
            </a:r>
            <a:br>
              <a:rPr lang="hr-HR" dirty="0"/>
            </a:br>
            <a:r>
              <a:rPr lang="hr-HR" dirty="0"/>
              <a:t>AT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79926C-EB85-43BC-B4A9-DC340E8732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4405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3271" y="693445"/>
            <a:ext cx="10515600" cy="106015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lnSpc>
                <a:spcPct val="80000"/>
              </a:lnSpc>
              <a:defRPr sz="2800" spc="-15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271" y="1898474"/>
            <a:ext cx="10515600" cy="41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4" name="Rechteck 25"/>
          <p:cNvSpPr/>
          <p:nvPr userDrawn="1"/>
        </p:nvSpPr>
        <p:spPr>
          <a:xfrm>
            <a:off x="149134" y="6462023"/>
            <a:ext cx="444137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ctr"/>
            <a:fld id="{E6723BED-33AB-4D74-A326-EFE42B737403}" type="slidenum">
              <a:rPr lang="de-DE" sz="900" b="0" noProof="0" smtClean="0">
                <a:solidFill>
                  <a:schemeClr val="bg1">
                    <a:lumMod val="65000"/>
                  </a:schemeClr>
                </a:solidFill>
                <a:latin typeface="+mn-lt"/>
                <a:cs typeface="Museo 300"/>
              </a:rPr>
              <a:pPr lvl="0" algn="ctr"/>
              <a:t>‹#›</a:t>
            </a:fld>
            <a:endParaRPr lang="de-DE" sz="900" b="0" noProof="0" dirty="0">
              <a:solidFill>
                <a:schemeClr val="bg1">
                  <a:lumMod val="65000"/>
                </a:schemeClr>
              </a:solidFill>
              <a:latin typeface="+mn-lt"/>
              <a:cs typeface="Museo 30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0"/>
          </p:nvPr>
        </p:nvSpPr>
        <p:spPr>
          <a:xfrm>
            <a:off x="593271" y="358782"/>
            <a:ext cx="10515600" cy="3346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0" y="0"/>
            <a:ext cx="12192000" cy="211015"/>
            <a:chOff x="0" y="6496594"/>
            <a:chExt cx="11530148" cy="361406"/>
          </a:xfrm>
        </p:grpSpPr>
        <p:pic>
          <p:nvPicPr>
            <p:cNvPr id="19" name="Grafik 1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65074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6034" y="6442978"/>
            <a:ext cx="1346200" cy="236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422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3271" y="693445"/>
            <a:ext cx="10515600" cy="106015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lnSpc>
                <a:spcPct val="80000"/>
              </a:lnSpc>
              <a:defRPr sz="2800" spc="-15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271" y="1898474"/>
            <a:ext cx="10515600" cy="41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4" name="Rechteck 25"/>
          <p:cNvSpPr/>
          <p:nvPr userDrawn="1"/>
        </p:nvSpPr>
        <p:spPr>
          <a:xfrm>
            <a:off x="149134" y="6462023"/>
            <a:ext cx="444137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ctr"/>
            <a:fld id="{E6723BED-33AB-4D74-A326-EFE42B737403}" type="slidenum">
              <a:rPr lang="de-DE" sz="900" smtClean="0">
                <a:solidFill>
                  <a:prstClr val="white">
                    <a:lumMod val="65000"/>
                  </a:prstClr>
                </a:solidFill>
                <a:cs typeface="Museo 300"/>
              </a:rPr>
              <a:pPr algn="ctr"/>
              <a:t>‹#›</a:t>
            </a:fld>
            <a:endParaRPr lang="de-DE" sz="900" dirty="0">
              <a:solidFill>
                <a:prstClr val="white">
                  <a:lumMod val="65000"/>
                </a:prstClr>
              </a:solidFill>
              <a:cs typeface="Museo 30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0"/>
          </p:nvPr>
        </p:nvSpPr>
        <p:spPr>
          <a:xfrm>
            <a:off x="593271" y="358782"/>
            <a:ext cx="10515600" cy="3346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0" y="0"/>
            <a:ext cx="12192000" cy="211015"/>
            <a:chOff x="0" y="6496594"/>
            <a:chExt cx="11530148" cy="361406"/>
          </a:xfrm>
        </p:grpSpPr>
        <p:pic>
          <p:nvPicPr>
            <p:cNvPr id="19" name="Grafik 1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65074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6034" y="6442978"/>
            <a:ext cx="1346200" cy="236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1880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3271" y="693445"/>
            <a:ext cx="10515600" cy="106015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lnSpc>
                <a:spcPct val="80000"/>
              </a:lnSpc>
              <a:defRPr sz="2800" spc="-15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271" y="1898474"/>
            <a:ext cx="10515600" cy="41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4" name="Rechteck 25"/>
          <p:cNvSpPr/>
          <p:nvPr userDrawn="1"/>
        </p:nvSpPr>
        <p:spPr>
          <a:xfrm>
            <a:off x="149134" y="6462023"/>
            <a:ext cx="444137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ctr"/>
            <a:fld id="{E6723BED-33AB-4D74-A326-EFE42B737403}" type="slidenum">
              <a:rPr lang="de-DE" sz="900" smtClean="0">
                <a:solidFill>
                  <a:prstClr val="white">
                    <a:lumMod val="65000"/>
                  </a:prstClr>
                </a:solidFill>
                <a:cs typeface="Museo 300"/>
              </a:rPr>
              <a:pPr algn="ctr"/>
              <a:t>‹#›</a:t>
            </a:fld>
            <a:endParaRPr lang="de-DE" sz="900" dirty="0">
              <a:solidFill>
                <a:prstClr val="white">
                  <a:lumMod val="65000"/>
                </a:prstClr>
              </a:solidFill>
              <a:cs typeface="Museo 30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0"/>
          </p:nvPr>
        </p:nvSpPr>
        <p:spPr>
          <a:xfrm>
            <a:off x="593271" y="358782"/>
            <a:ext cx="10515600" cy="3346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0" y="0"/>
            <a:ext cx="12192000" cy="211015"/>
            <a:chOff x="0" y="6496594"/>
            <a:chExt cx="11530148" cy="361406"/>
          </a:xfrm>
        </p:grpSpPr>
        <p:pic>
          <p:nvPicPr>
            <p:cNvPr id="19" name="Grafik 1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65074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6034" y="6442978"/>
            <a:ext cx="1346200" cy="236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6843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66561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1" y="0"/>
            <a:ext cx="12192528" cy="6858000"/>
          </a:xfrm>
          <a:prstGeom prst="rect">
            <a:avLst/>
          </a:prstGeom>
          <a:gradFill flip="none" rotWithShape="1">
            <a:gsLst>
              <a:gs pos="0">
                <a:srgbClr val="20242C"/>
              </a:gs>
              <a:gs pos="38000">
                <a:srgbClr val="2F3540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309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296034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15590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86" r:id="rId2"/>
    <p:sldLayoutId id="2147483690" r:id="rId3"/>
    <p:sldLayoutId id="2147483651" r:id="rId4"/>
    <p:sldLayoutId id="2147483691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9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chart" Target="../charts/char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7" Type="http://schemas.openxmlformats.org/officeDocument/2006/relationships/image" Target="../media/image5.svg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4.png"/><Relationship Id="rId5" Type="http://schemas.openxmlformats.org/officeDocument/2006/relationships/chart" Target="../charts/chart15.xml"/><Relationship Id="rId4" Type="http://schemas.openxmlformats.org/officeDocument/2006/relationships/chart" Target="../charts/char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chart" Target="../charts/char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chart" Target="../charts/char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chart" Target="../charts/char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2">
            <a:extLst>
              <a:ext uri="{FF2B5EF4-FFF2-40B4-BE49-F238E27FC236}">
                <a16:creationId xmlns:a16="http://schemas.microsoft.com/office/drawing/2014/main" id="{46934245-BE4E-1F8E-5130-08A0BBDD5B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83565" y="1595730"/>
            <a:ext cx="3966095" cy="1049470"/>
          </a:xfrm>
          <a:prstGeom prst="rect">
            <a:avLst/>
          </a:prstGeom>
        </p:spPr>
      </p:pic>
      <p:grpSp>
        <p:nvGrpSpPr>
          <p:cNvPr id="3" name="Gruppieren 12">
            <a:extLst>
              <a:ext uri="{FF2B5EF4-FFF2-40B4-BE49-F238E27FC236}">
                <a16:creationId xmlns:a16="http://schemas.microsoft.com/office/drawing/2014/main" id="{9CBAAA12-6A6E-808A-B8FF-9E3249A88994}"/>
              </a:ext>
            </a:extLst>
          </p:cNvPr>
          <p:cNvGrpSpPr/>
          <p:nvPr/>
        </p:nvGrpSpPr>
        <p:grpSpPr>
          <a:xfrm>
            <a:off x="5881007" y="1900159"/>
            <a:ext cx="429985" cy="440611"/>
            <a:chOff x="5492964" y="838200"/>
            <a:chExt cx="429985" cy="751297"/>
          </a:xfrm>
        </p:grpSpPr>
        <p:cxnSp>
          <p:nvCxnSpPr>
            <p:cNvPr id="4" name="Gerader Verbinder 11">
              <a:extLst>
                <a:ext uri="{FF2B5EF4-FFF2-40B4-BE49-F238E27FC236}">
                  <a16:creationId xmlns:a16="http://schemas.microsoft.com/office/drawing/2014/main" id="{F0804B53-FAE3-1932-17A4-7C956B730A6E}"/>
                </a:ext>
              </a:extLst>
            </p:cNvPr>
            <p:cNvCxnSpPr/>
            <p:nvPr/>
          </p:nvCxnSpPr>
          <p:spPr>
            <a:xfrm>
              <a:off x="5492964" y="838200"/>
              <a:ext cx="429985" cy="751297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Gerader Verbinder 13">
              <a:extLst>
                <a:ext uri="{FF2B5EF4-FFF2-40B4-BE49-F238E27FC236}">
                  <a16:creationId xmlns:a16="http://schemas.microsoft.com/office/drawing/2014/main" id="{C5334BC8-64FE-3B2C-3316-280BC94C6D8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492964" y="838200"/>
              <a:ext cx="429985" cy="751297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" name="Grafik 8">
            <a:extLst>
              <a:ext uri="{FF2B5EF4-FFF2-40B4-BE49-F238E27FC236}">
                <a16:creationId xmlns:a16="http://schemas.microsoft.com/office/drawing/2014/main" id="{43DBCA34-923A-4107-5E20-33B872DDB9B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24894" y="1781239"/>
            <a:ext cx="3883541" cy="678450"/>
          </a:xfrm>
          <a:prstGeom prst="rect">
            <a:avLst/>
          </a:prstGeom>
        </p:spPr>
      </p:pic>
      <p:sp>
        <p:nvSpPr>
          <p:cNvPr id="7" name="Rectangle 14">
            <a:extLst>
              <a:ext uri="{FF2B5EF4-FFF2-40B4-BE49-F238E27FC236}">
                <a16:creationId xmlns:a16="http://schemas.microsoft.com/office/drawing/2014/main" id="{2288E098-0AF6-DCF2-B3EE-00FB1FB45BA0}"/>
              </a:ext>
            </a:extLst>
          </p:cNvPr>
          <p:cNvSpPr/>
          <p:nvPr/>
        </p:nvSpPr>
        <p:spPr>
          <a:xfrm>
            <a:off x="2398697" y="3429000"/>
            <a:ext cx="7824588" cy="29940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9" rIns="0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4000" b="0" i="0" u="none" strike="noStrike" kern="1200" cap="none" normalizeH="0" baseline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Light"/>
                <a:ea typeface="Open Sans" panose="020B0606030504020204" pitchFamily="34" charset="0"/>
                <a:cs typeface="Open Sans" panose="020B0606030504020204" pitchFamily="34" charset="0"/>
              </a:rPr>
              <a:t>Gledanost televizijskog programa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hr-HR" dirty="0">
              <a:solidFill>
                <a:srgbClr val="FFFFFF"/>
              </a:solidFill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r-HR" dirty="0">
                <a:solidFill>
                  <a:schemeClr val="tx1">
                    <a:lumMod val="60000"/>
                    <a:lumOff val="40000"/>
                  </a:schemeClr>
                </a:solidFill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OŽUJAK 2024.</a:t>
            </a:r>
            <a:endParaRPr kumimoji="0" lang="hr-HR" b="0" i="0" u="none" strike="noStrike" kern="1200" cap="none" normalizeH="0" baseline="0" dirty="0">
              <a:ln>
                <a:noFill/>
              </a:ln>
              <a:solidFill>
                <a:schemeClr val="tx1">
                  <a:lumMod val="60000"/>
                  <a:lumOff val="40000"/>
                </a:schemeClr>
              </a:solidFill>
              <a:effectLst/>
              <a:uLnTx/>
              <a:uFillTx/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Rectangle 14">
            <a:extLst>
              <a:ext uri="{FF2B5EF4-FFF2-40B4-BE49-F238E27FC236}">
                <a16:creationId xmlns:a16="http://schemas.microsoft.com/office/drawing/2014/main" id="{B5366639-AC64-2C95-3BF3-7C76DAF14DBD}"/>
              </a:ext>
            </a:extLst>
          </p:cNvPr>
          <p:cNvSpPr/>
          <p:nvPr/>
        </p:nvSpPr>
        <p:spPr>
          <a:xfrm>
            <a:off x="3244293" y="5944955"/>
            <a:ext cx="6133397" cy="19746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9" rIns="0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hr-HR" sz="1400" i="1" dirty="0">
                <a:solidFill>
                  <a:srgbClr val="75829A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straživanje provodi tvrtka AdScanner d.o.o. na uzorku od </a:t>
            </a:r>
            <a:r>
              <a:rPr lang="hr-HR" sz="1400" i="1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900 </a:t>
            </a:r>
            <a:r>
              <a:rPr lang="hr-HR" sz="1400" i="1" dirty="0">
                <a:solidFill>
                  <a:srgbClr val="75829A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kućanstava </a:t>
            </a:r>
          </a:p>
          <a:p>
            <a:pPr algn="ctr">
              <a:lnSpc>
                <a:spcPct val="90000"/>
              </a:lnSpc>
            </a:pPr>
            <a:r>
              <a:rPr lang="hr-HR" sz="1400" i="1" dirty="0">
                <a:solidFill>
                  <a:srgbClr val="75829A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koja predstavljaju </a:t>
            </a:r>
            <a:r>
              <a:rPr lang="hr-HR" sz="1400" i="1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720.000</a:t>
            </a:r>
            <a:r>
              <a:rPr lang="hr-HR" sz="1400" i="1" dirty="0">
                <a:solidFill>
                  <a:srgbClr val="75829A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Pay TV kućanstava u Republici Hrvatskoj.</a:t>
            </a:r>
          </a:p>
          <a:p>
            <a:pPr>
              <a:lnSpc>
                <a:spcPct val="90000"/>
              </a:lnSpc>
            </a:pPr>
            <a:endParaRPr lang="hr-HR" sz="1400" i="1" dirty="0">
              <a:solidFill>
                <a:srgbClr val="75829A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33192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-10367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Extrabold"/>
                <a:ea typeface="+mn-ea"/>
                <a:cs typeface="+mn-cs"/>
              </a:rPr>
              <a:t>KOMPARATIVNA ANALIZA PODATAKA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r-HR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U analizu su uključeni svi zemaljski i nezemaljski kanali</a:t>
            </a:r>
            <a:endParaRPr kumimoji="0" lang="hr-HR" sz="1100" b="0" i="0" u="none" strike="noStrike" kern="1200" cap="none" spc="0" normalizeH="0" baseline="0" noProof="0" dirty="0">
              <a:ln>
                <a:noFill/>
              </a:ln>
              <a:solidFill>
                <a:srgbClr val="5EC0ED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0F99F297-BDA2-43C9-9B22-D6A587715DE1}"/>
              </a:ext>
            </a:extLst>
          </p:cNvPr>
          <p:cNvSpPr/>
          <p:nvPr/>
        </p:nvSpPr>
        <p:spPr>
          <a:xfrm>
            <a:off x="5868148" y="595169"/>
            <a:ext cx="2138576" cy="32247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OŽUJAK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202</a:t>
            </a: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3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– </a:t>
            </a: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OŽUJAK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2024. 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75829A"/>
              </a:solidFill>
              <a:effectLst/>
              <a:uLnTx/>
              <a:uFillTx/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63325490-1164-4089-8475-16331EB8F78F}"/>
              </a:ext>
            </a:extLst>
          </p:cNvPr>
          <p:cNvSpPr/>
          <p:nvPr/>
        </p:nvSpPr>
        <p:spPr>
          <a:xfrm>
            <a:off x="2372304" y="902871"/>
            <a:ext cx="574014" cy="21037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MIN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75829A"/>
              </a:solidFill>
              <a:effectLst/>
              <a:uLnTx/>
              <a:uFillTx/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20" name="Grafikon 19">
            <a:extLst>
              <a:ext uri="{FF2B5EF4-FFF2-40B4-BE49-F238E27FC236}">
                <a16:creationId xmlns:a16="http://schemas.microsoft.com/office/drawing/2014/main" id="{8542C7B1-CAD2-4DFB-A413-E3E175AE3C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84600810"/>
              </p:ext>
            </p:extLst>
          </p:nvPr>
        </p:nvGraphicFramePr>
        <p:xfrm>
          <a:off x="2314988" y="1127481"/>
          <a:ext cx="9308439" cy="4539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1" name="Rectangle 1">
            <a:extLst>
              <a:ext uri="{FF2B5EF4-FFF2-40B4-BE49-F238E27FC236}">
                <a16:creationId xmlns:a16="http://schemas.microsoft.com/office/drawing/2014/main" id="{6186077E-C373-42D5-B34E-554FABAE6D15}"/>
              </a:ext>
            </a:extLst>
          </p:cNvPr>
          <p:cNvSpPr/>
          <p:nvPr/>
        </p:nvSpPr>
        <p:spPr>
          <a:xfrm>
            <a:off x="11180036" y="917647"/>
            <a:ext cx="574014" cy="21037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75829A"/>
              </a:solidFill>
              <a:effectLst/>
              <a:uLnTx/>
              <a:uFillTx/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" name="Graphic 2">
            <a:extLst>
              <a:ext uri="{FF2B5EF4-FFF2-40B4-BE49-F238E27FC236}">
                <a16:creationId xmlns:a16="http://schemas.microsoft.com/office/drawing/2014/main" id="{B600C1D3-80B8-7A40-AA67-4FA7FF3482A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96020" y="5934339"/>
            <a:ext cx="2482831" cy="656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90566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5F787A3B-35DB-1855-8F84-696456732680}"/>
              </a:ext>
            </a:extLst>
          </p:cNvPr>
          <p:cNvSpPr/>
          <p:nvPr/>
        </p:nvSpPr>
        <p:spPr>
          <a:xfrm>
            <a:off x="-13524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LISTA TOP 15 NAJGLEDANIJIH TELEVIZIJSKIH KANALA 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CIJELOM DANU</a:t>
            </a:r>
            <a:r>
              <a:rPr lang="hr-HR" sz="1100" dirty="0">
                <a:solidFill>
                  <a:srgbClr val="5EC0ED"/>
                </a:solidFill>
                <a:latin typeface="Open Sans Extrabold"/>
              </a:rPr>
              <a:t>: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SVI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zemaljski i nezemaljski kanali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Open Sans Light"/>
            </a:endParaRPr>
          </a:p>
        </p:txBody>
      </p:sp>
      <p:graphicFrame>
        <p:nvGraphicFramePr>
          <p:cNvPr id="3" name="Tabelle 7">
            <a:extLst>
              <a:ext uri="{FF2B5EF4-FFF2-40B4-BE49-F238E27FC236}">
                <a16:creationId xmlns:a16="http://schemas.microsoft.com/office/drawing/2014/main" id="{466843A8-346D-7E9F-41EA-2D575D926F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5627032"/>
              </p:ext>
            </p:extLst>
          </p:nvPr>
        </p:nvGraphicFramePr>
        <p:xfrm>
          <a:off x="2429891" y="935073"/>
          <a:ext cx="8562057" cy="52902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2057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1987806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6292194">
                  <a:extLst>
                    <a:ext uri="{9D8B030D-6E8A-4147-A177-3AD203B41FA5}">
                      <a16:colId xmlns:a16="http://schemas.microsoft.com/office/drawing/2014/main" val="3418007403"/>
                    </a:ext>
                  </a:extLst>
                </a:gridCol>
              </a:tblGrid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OMA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2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4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3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 JR (HR)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KOCKIC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graphicFrame>
        <p:nvGraphicFramePr>
          <p:cNvPr id="4" name="Diagramm 5">
            <a:extLst>
              <a:ext uri="{FF2B5EF4-FFF2-40B4-BE49-F238E27FC236}">
                <a16:creationId xmlns:a16="http://schemas.microsoft.com/office/drawing/2014/main" id="{FD39DFB0-8C41-CF21-5117-C85734847F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65447128"/>
              </p:ext>
            </p:extLst>
          </p:nvPr>
        </p:nvGraphicFramePr>
        <p:xfrm>
          <a:off x="5114576" y="935074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Diagramm 8">
            <a:extLst>
              <a:ext uri="{FF2B5EF4-FFF2-40B4-BE49-F238E27FC236}">
                <a16:creationId xmlns:a16="http://schemas.microsoft.com/office/drawing/2014/main" id="{0AF679AC-4CF3-428E-C5B8-30FCE9BC497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23478372"/>
              </p:ext>
            </p:extLst>
          </p:nvPr>
        </p:nvGraphicFramePr>
        <p:xfrm>
          <a:off x="7146970" y="935070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Diagramm 11">
            <a:extLst>
              <a:ext uri="{FF2B5EF4-FFF2-40B4-BE49-F238E27FC236}">
                <a16:creationId xmlns:a16="http://schemas.microsoft.com/office/drawing/2014/main" id="{2298DDBD-6DA8-C0C4-9A27-2E6ACE7099E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7445044"/>
              </p:ext>
            </p:extLst>
          </p:nvPr>
        </p:nvGraphicFramePr>
        <p:xfrm>
          <a:off x="9179364" y="935069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Rectangle 14">
            <a:extLst>
              <a:ext uri="{FF2B5EF4-FFF2-40B4-BE49-F238E27FC236}">
                <a16:creationId xmlns:a16="http://schemas.microsoft.com/office/drawing/2014/main" id="{B3C08625-3C38-A305-ECFB-C403A835944D}"/>
              </a:ext>
            </a:extLst>
          </p:cNvPr>
          <p:cNvSpPr/>
          <p:nvPr/>
        </p:nvSpPr>
        <p:spPr>
          <a:xfrm>
            <a:off x="2669445" y="703371"/>
            <a:ext cx="1583732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r-HR" sz="900" dirty="0">
                <a:solidFill>
                  <a:schemeClr val="tx1">
                    <a:lumMod val="60000"/>
                    <a:lumOff val="40000"/>
                  </a:schemeClr>
                </a:solidFill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OŽUJAK 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2024.</a:t>
            </a:r>
            <a:endParaRPr lang="de-DE" sz="900" dirty="0">
              <a:solidFill>
                <a:srgbClr val="75829A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Rectangle 14">
            <a:extLst>
              <a:ext uri="{FF2B5EF4-FFF2-40B4-BE49-F238E27FC236}">
                <a16:creationId xmlns:a16="http://schemas.microsoft.com/office/drawing/2014/main" id="{1498C68A-BEB9-17F0-1001-DE4907734795}"/>
              </a:ext>
            </a:extLst>
          </p:cNvPr>
          <p:cNvSpPr/>
          <p:nvPr/>
        </p:nvSpPr>
        <p:spPr>
          <a:xfrm>
            <a:off x="5114576" y="70337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SHARE</a:t>
            </a:r>
          </a:p>
        </p:txBody>
      </p:sp>
      <p:sp>
        <p:nvSpPr>
          <p:cNvPr id="9" name="Rectangle 14">
            <a:extLst>
              <a:ext uri="{FF2B5EF4-FFF2-40B4-BE49-F238E27FC236}">
                <a16:creationId xmlns:a16="http://schemas.microsoft.com/office/drawing/2014/main" id="{BA12D237-2AC7-04AB-D597-F8D62A45BFE7}"/>
              </a:ext>
            </a:extLst>
          </p:cNvPr>
          <p:cNvSpPr/>
          <p:nvPr/>
        </p:nvSpPr>
        <p:spPr>
          <a:xfrm>
            <a:off x="7146970" y="70337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</a:p>
        </p:txBody>
      </p:sp>
      <p:sp>
        <p:nvSpPr>
          <p:cNvPr id="10" name="Rectangle 14">
            <a:extLst>
              <a:ext uri="{FF2B5EF4-FFF2-40B4-BE49-F238E27FC236}">
                <a16:creationId xmlns:a16="http://schemas.microsoft.com/office/drawing/2014/main" id="{46937BDE-D283-BB25-0E53-AD59595A6E47}"/>
              </a:ext>
            </a:extLst>
          </p:cNvPr>
          <p:cNvSpPr/>
          <p:nvPr/>
        </p:nvSpPr>
        <p:spPr>
          <a:xfrm>
            <a:off x="9179364" y="70337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r-HR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VERAGE</a:t>
            </a:r>
          </a:p>
        </p:txBody>
      </p:sp>
      <p:pic>
        <p:nvPicPr>
          <p:cNvPr id="12" name="Graphic 2">
            <a:extLst>
              <a:ext uri="{FF2B5EF4-FFF2-40B4-BE49-F238E27FC236}">
                <a16:creationId xmlns:a16="http://schemas.microsoft.com/office/drawing/2014/main" id="{E1B5CC97-4FE1-4C42-C745-5B8CD559103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5400000">
            <a:off x="10515279" y="3100508"/>
            <a:ext cx="2482831" cy="656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1859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3D068762-AD71-2288-5A68-07E2CED05A34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TELEVIZIJSKIH KANALA 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CIJELOM DANU</a:t>
            </a:r>
            <a:r>
              <a:rPr lang="hr-HR" sz="1100" dirty="0">
                <a:solidFill>
                  <a:srgbClr val="5EC0ED"/>
                </a:solidFill>
                <a:latin typeface="Open Sans Extrabold"/>
              </a:rPr>
              <a:t>:</a:t>
            </a:r>
          </a:p>
          <a:p>
            <a:pPr lvl="0">
              <a:lnSpc>
                <a:spcPct val="90000"/>
              </a:lnSpc>
              <a:defRPr/>
            </a:pPr>
            <a:r>
              <a:rPr lang="en-US" sz="1100" dirty="0">
                <a:solidFill>
                  <a:schemeClr val="accent2"/>
                </a:solidFill>
                <a:latin typeface="Open Sans Extrabold"/>
              </a:rPr>
              <a:t>NEZEMALJSKI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nezemaljski kanali</a:t>
            </a:r>
            <a:r>
              <a:rPr lang="en-US" sz="1100" dirty="0">
                <a:solidFill>
                  <a:srgbClr val="FFFFFF"/>
                </a:solidFill>
              </a:rPr>
              <a:t>.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827899F4-51AC-D1AD-745B-91620CB431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10515279" y="3100508"/>
            <a:ext cx="2482831" cy="656983"/>
          </a:xfrm>
          <a:prstGeom prst="rect">
            <a:avLst/>
          </a:prstGeom>
        </p:spPr>
      </p:pic>
      <p:graphicFrame>
        <p:nvGraphicFramePr>
          <p:cNvPr id="4" name="Tabelle 7">
            <a:extLst>
              <a:ext uri="{FF2B5EF4-FFF2-40B4-BE49-F238E27FC236}">
                <a16:creationId xmlns:a16="http://schemas.microsoft.com/office/drawing/2014/main" id="{59C3B38B-5D6C-3056-B960-E82D3CE0D0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2951824"/>
              </p:ext>
            </p:extLst>
          </p:nvPr>
        </p:nvGraphicFramePr>
        <p:xfrm>
          <a:off x="2350475" y="907641"/>
          <a:ext cx="8562057" cy="52902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2057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2094102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6185898">
                  <a:extLst>
                    <a:ext uri="{9D8B030D-6E8A-4147-A177-3AD203B41FA5}">
                      <a16:colId xmlns:a16="http://schemas.microsoft.com/office/drawing/2014/main" val="3418007403"/>
                    </a:ext>
                  </a:extLst>
                </a:gridCol>
              </a:tblGrid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 JR (HR)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AR CHANNE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ICKBOX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AR CRIM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AUDATO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INI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IASAT TV1000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OX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AR MOVIE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6" name="Rectangle 14">
            <a:extLst>
              <a:ext uri="{FF2B5EF4-FFF2-40B4-BE49-F238E27FC236}">
                <a16:creationId xmlns:a16="http://schemas.microsoft.com/office/drawing/2014/main" id="{451F535B-E3E7-BB4B-88ED-58B1F51393AE}"/>
              </a:ext>
            </a:extLst>
          </p:cNvPr>
          <p:cNvSpPr/>
          <p:nvPr/>
        </p:nvSpPr>
        <p:spPr>
          <a:xfrm>
            <a:off x="5035160" y="675939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SHARE</a:t>
            </a:r>
          </a:p>
        </p:txBody>
      </p:sp>
      <p:sp>
        <p:nvSpPr>
          <p:cNvPr id="7" name="Rectangle 14">
            <a:extLst>
              <a:ext uri="{FF2B5EF4-FFF2-40B4-BE49-F238E27FC236}">
                <a16:creationId xmlns:a16="http://schemas.microsoft.com/office/drawing/2014/main" id="{5E984E2E-7473-672C-9BA5-7EBB64C658F3}"/>
              </a:ext>
            </a:extLst>
          </p:cNvPr>
          <p:cNvSpPr/>
          <p:nvPr/>
        </p:nvSpPr>
        <p:spPr>
          <a:xfrm>
            <a:off x="7067554" y="675939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</a:p>
        </p:txBody>
      </p:sp>
      <p:sp>
        <p:nvSpPr>
          <p:cNvPr id="8" name="Rectangle 14">
            <a:extLst>
              <a:ext uri="{FF2B5EF4-FFF2-40B4-BE49-F238E27FC236}">
                <a16:creationId xmlns:a16="http://schemas.microsoft.com/office/drawing/2014/main" id="{DE9CC5F6-C994-D2A8-B6DC-FEEBE4A7AD7B}"/>
              </a:ext>
            </a:extLst>
          </p:cNvPr>
          <p:cNvSpPr/>
          <p:nvPr/>
        </p:nvSpPr>
        <p:spPr>
          <a:xfrm>
            <a:off x="9099948" y="675939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r-HR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VERAGE</a:t>
            </a:r>
          </a:p>
        </p:txBody>
      </p:sp>
      <p:graphicFrame>
        <p:nvGraphicFramePr>
          <p:cNvPr id="9" name="Diagramm 5">
            <a:extLst>
              <a:ext uri="{FF2B5EF4-FFF2-40B4-BE49-F238E27FC236}">
                <a16:creationId xmlns:a16="http://schemas.microsoft.com/office/drawing/2014/main" id="{31AD9098-823E-183B-7793-C82AF80084C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01064499"/>
              </p:ext>
            </p:extLst>
          </p:nvPr>
        </p:nvGraphicFramePr>
        <p:xfrm>
          <a:off x="5026771" y="909094"/>
          <a:ext cx="1944000" cy="529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8">
            <a:extLst>
              <a:ext uri="{FF2B5EF4-FFF2-40B4-BE49-F238E27FC236}">
                <a16:creationId xmlns:a16="http://schemas.microsoft.com/office/drawing/2014/main" id="{94FEF6EB-9908-5078-68EC-4EA2D1B560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00188984"/>
              </p:ext>
            </p:extLst>
          </p:nvPr>
        </p:nvGraphicFramePr>
        <p:xfrm>
          <a:off x="7059165" y="915722"/>
          <a:ext cx="1944000" cy="529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Diagramm 11">
            <a:extLst>
              <a:ext uri="{FF2B5EF4-FFF2-40B4-BE49-F238E27FC236}">
                <a16:creationId xmlns:a16="http://schemas.microsoft.com/office/drawing/2014/main" id="{11304A75-1CDD-F8A5-D47B-85A556CA8F0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73429868"/>
              </p:ext>
            </p:extLst>
          </p:nvPr>
        </p:nvGraphicFramePr>
        <p:xfrm>
          <a:off x="9091558" y="915722"/>
          <a:ext cx="2336645" cy="529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Rectangle 14">
            <a:extLst>
              <a:ext uri="{FF2B5EF4-FFF2-40B4-BE49-F238E27FC236}">
                <a16:creationId xmlns:a16="http://schemas.microsoft.com/office/drawing/2014/main" id="{2C214B9B-3546-6DBC-0E2F-FDC3C2D2F56C}"/>
              </a:ext>
            </a:extLst>
          </p:cNvPr>
          <p:cNvSpPr/>
          <p:nvPr/>
        </p:nvSpPr>
        <p:spPr>
          <a:xfrm>
            <a:off x="2669445" y="703371"/>
            <a:ext cx="1583732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r-HR" sz="900" dirty="0">
                <a:solidFill>
                  <a:schemeClr val="tx1">
                    <a:lumMod val="60000"/>
                    <a:lumOff val="40000"/>
                  </a:schemeClr>
                </a:solidFill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OŽUJAK 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2024.</a:t>
            </a:r>
            <a:endParaRPr lang="de-DE" sz="900" dirty="0">
              <a:solidFill>
                <a:srgbClr val="75829A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15595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6E2DF6E7-02D2-AEB9-6C55-E5613E200D51}"/>
              </a:ext>
            </a:extLst>
          </p:cNvPr>
          <p:cNvSpPr/>
          <p:nvPr/>
        </p:nvSpPr>
        <p:spPr>
          <a:xfrm>
            <a:off x="0" y="16778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en-US" sz="1100" dirty="0">
                <a:solidFill>
                  <a:schemeClr val="accent4"/>
                </a:solidFill>
                <a:latin typeface="Open Sans Extrabold"/>
              </a:rPr>
              <a:t>EMISIJA</a:t>
            </a:r>
            <a:endParaRPr lang="hr-HR" sz="1100" dirty="0">
              <a:solidFill>
                <a:schemeClr val="accent4"/>
              </a:solidFill>
              <a:latin typeface="Open Sans Extrabold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CIJELOM DANU: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SVI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zemaljski i nezemaljski kanali</a:t>
            </a:r>
            <a:endParaRPr lang="hr-HR" sz="1100" dirty="0">
              <a:solidFill>
                <a:schemeClr val="accent2"/>
              </a:solidFill>
            </a:endParaRPr>
          </a:p>
          <a:p>
            <a:pPr lvl="0">
              <a:lnSpc>
                <a:spcPct val="90000"/>
              </a:lnSpc>
              <a:defRPr/>
            </a:pPr>
            <a:endParaRPr kumimoji="0" lang="en-US" sz="11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</a:rPr>
              <a:t>U listu najgledanijih emisija ne ulaze duplicirani programi i programi kraći od 15 min. Ako program ima više od jednog emitiranja</a:t>
            </a:r>
            <a:r>
              <a:rPr lang="en-US" sz="1100" dirty="0">
                <a:solidFill>
                  <a:schemeClr val="bg1"/>
                </a:solidFill>
              </a:rPr>
              <a:t>,</a:t>
            </a:r>
            <a:r>
              <a:rPr lang="hr-HR" sz="1100" dirty="0">
                <a:solidFill>
                  <a:schemeClr val="bg1"/>
                </a:solidFill>
              </a:rPr>
              <a:t> u izvještaju je naveden najgledaniji sadržaj. 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CBF65B3-C350-3E53-F5FA-050DABFC57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10515279" y="3100508"/>
            <a:ext cx="2482831" cy="656983"/>
          </a:xfrm>
          <a:prstGeom prst="rect">
            <a:avLst/>
          </a:prstGeom>
        </p:spPr>
      </p:pic>
      <p:graphicFrame>
        <p:nvGraphicFramePr>
          <p:cNvPr id="4" name="Tabelle 7">
            <a:extLst>
              <a:ext uri="{FF2B5EF4-FFF2-40B4-BE49-F238E27FC236}">
                <a16:creationId xmlns:a16="http://schemas.microsoft.com/office/drawing/2014/main" id="{D688EC26-2DBB-2033-A91A-0D0350462D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2456877"/>
              </p:ext>
            </p:extLst>
          </p:nvPr>
        </p:nvGraphicFramePr>
        <p:xfrm>
          <a:off x="2318944" y="809540"/>
          <a:ext cx="9421953" cy="550292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9276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903286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1008009">
                  <a:extLst>
                    <a:ext uri="{9D8B030D-6E8A-4147-A177-3AD203B41FA5}">
                      <a16:colId xmlns:a16="http://schemas.microsoft.com/office/drawing/2014/main" val="1066211400"/>
                    </a:ext>
                  </a:extLst>
                </a:gridCol>
                <a:gridCol w="2078657">
                  <a:extLst>
                    <a:ext uri="{9D8B030D-6E8A-4147-A177-3AD203B41FA5}">
                      <a16:colId xmlns:a16="http://schemas.microsoft.com/office/drawing/2014/main" val="2266377699"/>
                    </a:ext>
                  </a:extLst>
                </a:gridCol>
                <a:gridCol w="5112725">
                  <a:extLst>
                    <a:ext uri="{9D8B030D-6E8A-4147-A177-3AD203B41FA5}">
                      <a16:colId xmlns:a16="http://schemas.microsoft.com/office/drawing/2014/main" val="1868117407"/>
                    </a:ext>
                  </a:extLst>
                </a:gridCol>
              </a:tblGrid>
              <a:tr h="3114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6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3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ijateljsk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takmic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Hrvatska -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gipat</a:t>
                      </a:r>
                      <a:endParaRPr lang="en-GB" sz="9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53¸Prijateljska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takmic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Hrvatska - Tuni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6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:21 Prijateljska utakmica: Hrvatska - Egipat, emisij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15 Tvoje lice zvuči poznato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8655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Nogomet - Konferencijska liga: Dinamo - Paok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6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:45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černje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ijesti</a:t>
                      </a:r>
                      <a:endParaRPr lang="en-GB" sz="9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:45 Nogomet - Konferencijska liga: Paok - Dinamo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82170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15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ijateljsk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takmic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Hrvatska - Tunis,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misija</a:t>
                      </a:r>
                      <a:endParaRPr lang="en-GB" sz="9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0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nevnik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e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2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umovi</a:t>
                      </a:r>
                      <a:endParaRPr lang="en-GB" sz="9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:11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tjera</a:t>
                      </a:r>
                      <a:endParaRPr lang="en-GB" sz="9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15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perpotjera</a:t>
                      </a:r>
                      <a:endParaRPr lang="en-GB" sz="9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20 Tko to tamo pjeva?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16 Top Gun: Maverick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92602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15 What's up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jever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Jug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graphicFrame>
        <p:nvGraphicFramePr>
          <p:cNvPr id="5" name="Diagramm 5">
            <a:extLst>
              <a:ext uri="{FF2B5EF4-FFF2-40B4-BE49-F238E27FC236}">
                <a16:creationId xmlns:a16="http://schemas.microsoft.com/office/drawing/2014/main" id="{FD81DE65-BF32-C44B-70EE-EED3F58AE69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55543246"/>
              </p:ext>
            </p:extLst>
          </p:nvPr>
        </p:nvGraphicFramePr>
        <p:xfrm>
          <a:off x="6855209" y="768347"/>
          <a:ext cx="1709317" cy="554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" name="Diagramm 8">
            <a:extLst>
              <a:ext uri="{FF2B5EF4-FFF2-40B4-BE49-F238E27FC236}">
                <a16:creationId xmlns:a16="http://schemas.microsoft.com/office/drawing/2014/main" id="{4DFEF975-4A35-B5EA-1C8D-FFF9051556A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04138227"/>
              </p:ext>
            </p:extLst>
          </p:nvPr>
        </p:nvGraphicFramePr>
        <p:xfrm>
          <a:off x="8226295" y="768753"/>
          <a:ext cx="1583451" cy="554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" name="Diagramm 11">
            <a:extLst>
              <a:ext uri="{FF2B5EF4-FFF2-40B4-BE49-F238E27FC236}">
                <a16:creationId xmlns:a16="http://schemas.microsoft.com/office/drawing/2014/main" id="{E7985E5E-09FD-C4E9-383D-4615D7B6D7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0662694"/>
              </p:ext>
            </p:extLst>
          </p:nvPr>
        </p:nvGraphicFramePr>
        <p:xfrm>
          <a:off x="9920664" y="768750"/>
          <a:ext cx="1709316" cy="554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Rectangle 14">
            <a:extLst>
              <a:ext uri="{FF2B5EF4-FFF2-40B4-BE49-F238E27FC236}">
                <a16:creationId xmlns:a16="http://schemas.microsoft.com/office/drawing/2014/main" id="{BD9A3C33-794F-E99F-5597-FA65EEF19FD5}"/>
              </a:ext>
            </a:extLst>
          </p:cNvPr>
          <p:cNvSpPr/>
          <p:nvPr/>
        </p:nvSpPr>
        <p:spPr>
          <a:xfrm>
            <a:off x="6839111" y="557258"/>
            <a:ext cx="965976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AMR</a:t>
            </a:r>
          </a:p>
        </p:txBody>
      </p:sp>
      <p:sp>
        <p:nvSpPr>
          <p:cNvPr id="9" name="Rectangle 14">
            <a:extLst>
              <a:ext uri="{FF2B5EF4-FFF2-40B4-BE49-F238E27FC236}">
                <a16:creationId xmlns:a16="http://schemas.microsoft.com/office/drawing/2014/main" id="{A5702BF4-4936-3A84-D097-8B4CE2B8DDC4}"/>
              </a:ext>
            </a:extLst>
          </p:cNvPr>
          <p:cNvSpPr/>
          <p:nvPr/>
        </p:nvSpPr>
        <p:spPr>
          <a:xfrm>
            <a:off x="8226295" y="563948"/>
            <a:ext cx="965976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EACH</a:t>
            </a:r>
          </a:p>
        </p:txBody>
      </p:sp>
      <p:sp>
        <p:nvSpPr>
          <p:cNvPr id="10" name="Rectangle 20">
            <a:extLst>
              <a:ext uri="{FF2B5EF4-FFF2-40B4-BE49-F238E27FC236}">
                <a16:creationId xmlns:a16="http://schemas.microsoft.com/office/drawing/2014/main" id="{4F8F8435-CC62-B7C8-92DA-D4B89D2B79D6}"/>
              </a:ext>
            </a:extLst>
          </p:cNvPr>
          <p:cNvSpPr/>
          <p:nvPr/>
        </p:nvSpPr>
        <p:spPr>
          <a:xfrm>
            <a:off x="9920663" y="563948"/>
            <a:ext cx="965976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HARE</a:t>
            </a:r>
          </a:p>
        </p:txBody>
      </p:sp>
      <p:sp>
        <p:nvSpPr>
          <p:cNvPr id="11" name="Rectangle 14">
            <a:extLst>
              <a:ext uri="{FF2B5EF4-FFF2-40B4-BE49-F238E27FC236}">
                <a16:creationId xmlns:a16="http://schemas.microsoft.com/office/drawing/2014/main" id="{D4B00156-1188-B583-B24C-17F82689ECE4}"/>
              </a:ext>
            </a:extLst>
          </p:cNvPr>
          <p:cNvSpPr/>
          <p:nvPr/>
        </p:nvSpPr>
        <p:spPr>
          <a:xfrm>
            <a:off x="2813978" y="583120"/>
            <a:ext cx="578446" cy="13979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ATUM</a:t>
            </a:r>
          </a:p>
        </p:txBody>
      </p:sp>
      <p:sp>
        <p:nvSpPr>
          <p:cNvPr id="12" name="Rectangle 14">
            <a:extLst>
              <a:ext uri="{FF2B5EF4-FFF2-40B4-BE49-F238E27FC236}">
                <a16:creationId xmlns:a16="http://schemas.microsoft.com/office/drawing/2014/main" id="{0317D64D-8E68-0194-9BC8-994BAA6625B5}"/>
              </a:ext>
            </a:extLst>
          </p:cNvPr>
          <p:cNvSpPr/>
          <p:nvPr/>
        </p:nvSpPr>
        <p:spPr>
          <a:xfrm>
            <a:off x="3960116" y="583120"/>
            <a:ext cx="418589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ANAL</a:t>
            </a:r>
          </a:p>
        </p:txBody>
      </p:sp>
      <p:sp>
        <p:nvSpPr>
          <p:cNvPr id="13" name="Rectangle 14">
            <a:extLst>
              <a:ext uri="{FF2B5EF4-FFF2-40B4-BE49-F238E27FC236}">
                <a16:creationId xmlns:a16="http://schemas.microsoft.com/office/drawing/2014/main" id="{82FB7367-3A5D-A6D3-63CF-B49077515E40}"/>
              </a:ext>
            </a:extLst>
          </p:cNvPr>
          <p:cNvSpPr/>
          <p:nvPr/>
        </p:nvSpPr>
        <p:spPr>
          <a:xfrm>
            <a:off x="5274248" y="583120"/>
            <a:ext cx="578582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MISIJA</a:t>
            </a:r>
          </a:p>
        </p:txBody>
      </p:sp>
    </p:spTree>
    <p:extLst>
      <p:ext uri="{BB962C8B-B14F-4D97-AF65-F5344CB8AC3E}">
        <p14:creationId xmlns:p14="http://schemas.microsoft.com/office/powerpoint/2010/main" val="26058340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">
            <a:extLst>
              <a:ext uri="{FF2B5EF4-FFF2-40B4-BE49-F238E27FC236}">
                <a16:creationId xmlns:a16="http://schemas.microsoft.com/office/drawing/2014/main" id="{CEDD2406-8D61-8E21-ECDF-C1AA508081D6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en-US" sz="1100" dirty="0">
                <a:solidFill>
                  <a:schemeClr val="accent4"/>
                </a:solidFill>
                <a:latin typeface="Open Sans Extrabold"/>
              </a:rPr>
              <a:t>EMISIJA</a:t>
            </a:r>
            <a:endParaRPr lang="hr-HR" sz="1100" dirty="0">
              <a:solidFill>
                <a:schemeClr val="accent4"/>
              </a:solidFill>
              <a:latin typeface="Open Sans Extrabold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CIJELOM DANU:</a:t>
            </a:r>
          </a:p>
          <a:p>
            <a:pPr lvl="0">
              <a:lnSpc>
                <a:spcPct val="90000"/>
              </a:lnSpc>
              <a:defRPr/>
            </a:pPr>
            <a:r>
              <a:rPr lang="en-US" sz="1100" dirty="0">
                <a:solidFill>
                  <a:schemeClr val="accent2"/>
                </a:solidFill>
                <a:latin typeface="Open Sans Extrabold"/>
              </a:rPr>
              <a:t>NEZEMALJSKI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nezemaljski kanali</a:t>
            </a:r>
            <a:endParaRPr lang="hr-HR" sz="1100" dirty="0">
              <a:solidFill>
                <a:schemeClr val="accent2"/>
              </a:solidFill>
            </a:endParaRPr>
          </a:p>
          <a:p>
            <a:pPr lvl="0">
              <a:lnSpc>
                <a:spcPct val="90000"/>
              </a:lnSpc>
              <a:defRPr/>
            </a:pPr>
            <a:endParaRPr kumimoji="0" lang="en-US" sz="11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</a:rPr>
              <a:t>U listu najgledanijih emisija ne ulaze duplicirani programi i programi kraći od 15 min. Ako program ima više od jednog emitiranja</a:t>
            </a:r>
            <a:r>
              <a:rPr lang="en-US" sz="1100" dirty="0">
                <a:solidFill>
                  <a:schemeClr val="bg1"/>
                </a:solidFill>
              </a:rPr>
              <a:t>,</a:t>
            </a:r>
            <a:r>
              <a:rPr lang="hr-HR" sz="1100" dirty="0">
                <a:solidFill>
                  <a:schemeClr val="bg1"/>
                </a:solidFill>
              </a:rPr>
              <a:t> u izvještaju je naveden najgledaniji sadržaj. 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/>
            </a:endParaRPr>
          </a:p>
        </p:txBody>
      </p:sp>
      <p:graphicFrame>
        <p:nvGraphicFramePr>
          <p:cNvPr id="13" name="Tabelle 7">
            <a:extLst>
              <a:ext uri="{FF2B5EF4-FFF2-40B4-BE49-F238E27FC236}">
                <a16:creationId xmlns:a16="http://schemas.microsoft.com/office/drawing/2014/main" id="{A10DCA74-BD12-0672-EA1A-CC65CBAC6C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9700139"/>
              </p:ext>
            </p:extLst>
          </p:nvPr>
        </p:nvGraphicFramePr>
        <p:xfrm>
          <a:off x="2417858" y="738870"/>
          <a:ext cx="9287210" cy="557564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4709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01503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1204689">
                  <a:extLst>
                    <a:ext uri="{9D8B030D-6E8A-4147-A177-3AD203B41FA5}">
                      <a16:colId xmlns:a16="http://schemas.microsoft.com/office/drawing/2014/main" val="1066211400"/>
                    </a:ext>
                  </a:extLst>
                </a:gridCol>
                <a:gridCol w="1921975">
                  <a:extLst>
                    <a:ext uri="{9D8B030D-6E8A-4147-A177-3AD203B41FA5}">
                      <a16:colId xmlns:a16="http://schemas.microsoft.com/office/drawing/2014/main" val="2266377699"/>
                    </a:ext>
                  </a:extLst>
                </a:gridCol>
                <a:gridCol w="5044334">
                  <a:extLst>
                    <a:ext uri="{9D8B030D-6E8A-4147-A177-3AD203B41FA5}">
                      <a16:colId xmlns:a16="http://schemas.microsoft.com/office/drawing/2014/main" val="1868117407"/>
                    </a:ext>
                  </a:extLst>
                </a:gridCol>
              </a:tblGrid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gomet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onferencijsk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g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Dinamo -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aok</a:t>
                      </a:r>
                      <a:endParaRPr lang="en-GB" sz="9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61180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:45 Nogomet - Konferencijska liga: Paok - Dinamo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:45 Nogomet - Premier League: Liverpool - Manchester City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:0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misij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onferencijsk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Lig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81072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Nogomet - Liga prvaka: Bayern - Lazio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:3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gomet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Premier League: Manchester City - Arsen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:00 Pregled Lige prvak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76751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gomet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Liga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vak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Barcelona - Napoli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:3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gomet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Premier League: Manchester City - Manchester Unite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:45 Emisija Nakon Derbij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0:0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gomet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Premier League -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egled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kol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:0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gomet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Premier League: Liverpool - Brighton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gomet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Liga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vak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Arsenal - Porto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:0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misij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Liga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vaka</a:t>
                      </a:r>
                      <a:endParaRPr lang="en-GB" sz="9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87036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:0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etbusters</a:t>
                      </a:r>
                      <a:endParaRPr lang="en-GB" sz="9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graphicFrame>
        <p:nvGraphicFramePr>
          <p:cNvPr id="14" name="Diagramm 5">
            <a:extLst>
              <a:ext uri="{FF2B5EF4-FFF2-40B4-BE49-F238E27FC236}">
                <a16:creationId xmlns:a16="http://schemas.microsoft.com/office/drawing/2014/main" id="{7D48DA06-F6F6-0E75-4626-13738CC492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0527483"/>
              </p:ext>
            </p:extLst>
          </p:nvPr>
        </p:nvGraphicFramePr>
        <p:xfrm>
          <a:off x="6911345" y="718657"/>
          <a:ext cx="1870446" cy="55958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Diagramm 8">
            <a:extLst>
              <a:ext uri="{FF2B5EF4-FFF2-40B4-BE49-F238E27FC236}">
                <a16:creationId xmlns:a16="http://schemas.microsoft.com/office/drawing/2014/main" id="{60342E12-BCAB-3A0A-2B4D-2DE26E872B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25799970"/>
              </p:ext>
            </p:extLst>
          </p:nvPr>
        </p:nvGraphicFramePr>
        <p:xfrm>
          <a:off x="8271748" y="725396"/>
          <a:ext cx="1685491" cy="5614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Diagramm 11">
            <a:extLst>
              <a:ext uri="{FF2B5EF4-FFF2-40B4-BE49-F238E27FC236}">
                <a16:creationId xmlns:a16="http://schemas.microsoft.com/office/drawing/2014/main" id="{7C33B1EE-6D21-BFA8-953F-47685645543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7623677"/>
              </p:ext>
            </p:extLst>
          </p:nvPr>
        </p:nvGraphicFramePr>
        <p:xfrm>
          <a:off x="9957239" y="725395"/>
          <a:ext cx="1685491" cy="55756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Rectangle 14">
            <a:extLst>
              <a:ext uri="{FF2B5EF4-FFF2-40B4-BE49-F238E27FC236}">
                <a16:creationId xmlns:a16="http://schemas.microsoft.com/office/drawing/2014/main" id="{F96C6659-B5CA-A079-2046-04F9360DF14F}"/>
              </a:ext>
            </a:extLst>
          </p:cNvPr>
          <p:cNvSpPr/>
          <p:nvPr/>
        </p:nvSpPr>
        <p:spPr>
          <a:xfrm>
            <a:off x="6875687" y="518228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AMR</a:t>
            </a: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1CDE8C9A-C888-1DAB-F52A-D5A5A28FFE30}"/>
              </a:ext>
            </a:extLst>
          </p:cNvPr>
          <p:cNvSpPr/>
          <p:nvPr/>
        </p:nvSpPr>
        <p:spPr>
          <a:xfrm>
            <a:off x="8262871" y="518228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EACH</a:t>
            </a:r>
          </a:p>
        </p:txBody>
      </p:sp>
      <p:sp>
        <p:nvSpPr>
          <p:cNvPr id="19" name="Rectangle 20">
            <a:extLst>
              <a:ext uri="{FF2B5EF4-FFF2-40B4-BE49-F238E27FC236}">
                <a16:creationId xmlns:a16="http://schemas.microsoft.com/office/drawing/2014/main" id="{AB75CA09-4693-3502-0544-8A8456F434D5}"/>
              </a:ext>
            </a:extLst>
          </p:cNvPr>
          <p:cNvSpPr/>
          <p:nvPr/>
        </p:nvSpPr>
        <p:spPr>
          <a:xfrm>
            <a:off x="9957239" y="518228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HARE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841CFD80-FB46-2F79-2EAF-C60BDFEFFCF8}"/>
              </a:ext>
            </a:extLst>
          </p:cNvPr>
          <p:cNvSpPr/>
          <p:nvPr/>
        </p:nvSpPr>
        <p:spPr>
          <a:xfrm>
            <a:off x="2850554" y="537400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ATUM</a:t>
            </a:r>
          </a:p>
        </p:txBody>
      </p:sp>
      <p:sp>
        <p:nvSpPr>
          <p:cNvPr id="21" name="Rectangle 14">
            <a:extLst>
              <a:ext uri="{FF2B5EF4-FFF2-40B4-BE49-F238E27FC236}">
                <a16:creationId xmlns:a16="http://schemas.microsoft.com/office/drawing/2014/main" id="{7A941BAF-B42D-8B65-A28E-D2AC3C57EB6F}"/>
              </a:ext>
            </a:extLst>
          </p:cNvPr>
          <p:cNvSpPr/>
          <p:nvPr/>
        </p:nvSpPr>
        <p:spPr>
          <a:xfrm>
            <a:off x="3996692" y="537400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ANAL</a:t>
            </a:r>
          </a:p>
        </p:txBody>
      </p:sp>
      <p:sp>
        <p:nvSpPr>
          <p:cNvPr id="22" name="Rectangle 14">
            <a:extLst>
              <a:ext uri="{FF2B5EF4-FFF2-40B4-BE49-F238E27FC236}">
                <a16:creationId xmlns:a16="http://schemas.microsoft.com/office/drawing/2014/main" id="{74147CC0-4E8B-2D31-94AC-019F59AA4EAE}"/>
              </a:ext>
            </a:extLst>
          </p:cNvPr>
          <p:cNvSpPr/>
          <p:nvPr/>
        </p:nvSpPr>
        <p:spPr>
          <a:xfrm>
            <a:off x="5310824" y="537400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MISIJA</a:t>
            </a:r>
          </a:p>
        </p:txBody>
      </p:sp>
      <p:pic>
        <p:nvPicPr>
          <p:cNvPr id="23" name="Graphic 2">
            <a:extLst>
              <a:ext uri="{FF2B5EF4-FFF2-40B4-BE49-F238E27FC236}">
                <a16:creationId xmlns:a16="http://schemas.microsoft.com/office/drawing/2014/main" id="{A1210E03-73A5-B64C-938E-20EA6F0349D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5400000">
            <a:off x="10515279" y="3100508"/>
            <a:ext cx="2482831" cy="656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7563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0919170"/>
              </p:ext>
            </p:extLst>
          </p:nvPr>
        </p:nvGraphicFramePr>
        <p:xfrm>
          <a:off x="2564669" y="880209"/>
          <a:ext cx="8562057" cy="52902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2057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280000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</a:tblGrid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OMA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2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KOCKIC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3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4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GB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 JR (HR)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TELEVIZIJSKIH KANALA 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U PERIODU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19-23H</a:t>
            </a:r>
            <a:r>
              <a:rPr lang="hr-HR" sz="1100" dirty="0">
                <a:solidFill>
                  <a:srgbClr val="5EC0ED"/>
                </a:solidFill>
                <a:latin typeface="Open Sans Extrabold"/>
              </a:rPr>
              <a:t>: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SVI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zemaljski i nezemaljski kanali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Open Sans Light"/>
            </a:endParaRPr>
          </a:p>
        </p:txBody>
      </p:sp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9868989"/>
              </p:ext>
            </p:extLst>
          </p:nvPr>
        </p:nvGraphicFramePr>
        <p:xfrm>
          <a:off x="7281748" y="880202"/>
          <a:ext cx="1944000" cy="52902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77631439"/>
              </p:ext>
            </p:extLst>
          </p:nvPr>
        </p:nvGraphicFramePr>
        <p:xfrm>
          <a:off x="9314142" y="880201"/>
          <a:ext cx="1944000" cy="52902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Rectangle 14">
            <a:extLst>
              <a:ext uri="{FF2B5EF4-FFF2-40B4-BE49-F238E27FC236}">
                <a16:creationId xmlns:a16="http://schemas.microsoft.com/office/drawing/2014/main" id="{91B7353B-9BA3-408D-A9D5-9D970B69D8E8}"/>
              </a:ext>
            </a:extLst>
          </p:cNvPr>
          <p:cNvSpPr/>
          <p:nvPr/>
        </p:nvSpPr>
        <p:spPr>
          <a:xfrm>
            <a:off x="5266132" y="648507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SHARE</a:t>
            </a: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97D00EDC-9529-40CD-B57A-333BDB211856}"/>
              </a:ext>
            </a:extLst>
          </p:cNvPr>
          <p:cNvSpPr/>
          <p:nvPr/>
        </p:nvSpPr>
        <p:spPr>
          <a:xfrm>
            <a:off x="7298526" y="648507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9F9B83CD-360B-4E9E-ADBA-8F461E4C5C59}"/>
              </a:ext>
            </a:extLst>
          </p:cNvPr>
          <p:cNvSpPr/>
          <p:nvPr/>
        </p:nvSpPr>
        <p:spPr>
          <a:xfrm>
            <a:off x="9330920" y="648507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r-HR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VERAGE</a:t>
            </a:r>
          </a:p>
        </p:txBody>
      </p:sp>
      <p:graphicFrame>
        <p:nvGraphicFramePr>
          <p:cNvPr id="4" name="Diagramm 5">
            <a:extLst>
              <a:ext uri="{FF2B5EF4-FFF2-40B4-BE49-F238E27FC236}">
                <a16:creationId xmlns:a16="http://schemas.microsoft.com/office/drawing/2014/main" id="{B7CB1606-850C-8204-34E0-01348370B61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1008947"/>
              </p:ext>
            </p:extLst>
          </p:nvPr>
        </p:nvGraphicFramePr>
        <p:xfrm>
          <a:off x="5266132" y="880206"/>
          <a:ext cx="2032394" cy="52902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5" name="Graphic 2">
            <a:extLst>
              <a:ext uri="{FF2B5EF4-FFF2-40B4-BE49-F238E27FC236}">
                <a16:creationId xmlns:a16="http://schemas.microsoft.com/office/drawing/2014/main" id="{6038E9EA-67AF-6EEF-8FF2-8B3193278F1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10515279" y="3100508"/>
            <a:ext cx="2482831" cy="656983"/>
          </a:xfrm>
          <a:prstGeom prst="rect">
            <a:avLst/>
          </a:prstGeom>
        </p:spPr>
      </p:pic>
      <p:sp>
        <p:nvSpPr>
          <p:cNvPr id="3" name="Rectangle 14">
            <a:extLst>
              <a:ext uri="{FF2B5EF4-FFF2-40B4-BE49-F238E27FC236}">
                <a16:creationId xmlns:a16="http://schemas.microsoft.com/office/drawing/2014/main" id="{F6C6BCED-FB2C-F935-F8FF-A8FCCADB772B}"/>
              </a:ext>
            </a:extLst>
          </p:cNvPr>
          <p:cNvSpPr/>
          <p:nvPr/>
        </p:nvSpPr>
        <p:spPr>
          <a:xfrm>
            <a:off x="2669445" y="703371"/>
            <a:ext cx="1583732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r-HR" sz="900" dirty="0">
                <a:solidFill>
                  <a:schemeClr val="tx1">
                    <a:lumMod val="60000"/>
                    <a:lumOff val="40000"/>
                  </a:schemeClr>
                </a:solidFill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OŽUJAK 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2024.</a:t>
            </a:r>
            <a:endParaRPr lang="de-DE" sz="900" dirty="0">
              <a:solidFill>
                <a:srgbClr val="75829A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4823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5535182"/>
              </p:ext>
            </p:extLst>
          </p:nvPr>
        </p:nvGraphicFramePr>
        <p:xfrm>
          <a:off x="2558808" y="941154"/>
          <a:ext cx="8562057" cy="529376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2057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280000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</a:tblGrid>
              <a:tr h="36643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RENA SPORT 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INESTAR TV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ICKELODEON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RENA SPORT 3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INESTAR TV ACTION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ICK JR (HR)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ICKBOX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RENA SPORT 6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IV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IASAT TV1000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ATIONAL GEOGRAPHIC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TAR CHANNE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INESTAR TV PREMIERE 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BBC FIRST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1" algn="l" fontAlgn="b"/>
                      <a:r>
                        <a:rPr lang="en-GB" sz="1200" b="0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STAR CRIME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LISTA TOP 15 </a:t>
            </a: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NAJGLEDANIJIH TELEVIZIJSKIH </a:t>
            </a: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KANALA 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U </a:t>
            </a: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PERIODU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19-23H</a:t>
            </a: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:</a:t>
            </a:r>
          </a:p>
          <a:p>
            <a:pPr lvl="0">
              <a:lnSpc>
                <a:spcPct val="90000"/>
              </a:lnSpc>
              <a:defRPr/>
            </a:pPr>
            <a:r>
              <a:rPr lang="en-US" sz="1100" dirty="0">
                <a:solidFill>
                  <a:schemeClr val="accent2"/>
                </a:solidFill>
                <a:latin typeface="Open Sans Extrabold"/>
              </a:rPr>
              <a:t>NEZEMALJSKI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nezemaljski kanali</a:t>
            </a:r>
            <a:r>
              <a:rPr lang="en-US" sz="1100" dirty="0">
                <a:solidFill>
                  <a:srgbClr val="FFFFFF"/>
                </a:solidFill>
              </a:rPr>
              <a:t>.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Open Sans Light"/>
            </a:endParaRP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97838295"/>
              </p:ext>
            </p:extLst>
          </p:nvPr>
        </p:nvGraphicFramePr>
        <p:xfrm>
          <a:off x="5243493" y="938272"/>
          <a:ext cx="1944000" cy="5279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54119703"/>
              </p:ext>
            </p:extLst>
          </p:nvPr>
        </p:nvGraphicFramePr>
        <p:xfrm>
          <a:off x="7275887" y="941154"/>
          <a:ext cx="1944000" cy="52819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24322224"/>
              </p:ext>
            </p:extLst>
          </p:nvPr>
        </p:nvGraphicFramePr>
        <p:xfrm>
          <a:off x="9308281" y="938272"/>
          <a:ext cx="1944000" cy="5279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Rectangle 14">
            <a:extLst>
              <a:ext uri="{FF2B5EF4-FFF2-40B4-BE49-F238E27FC236}">
                <a16:creationId xmlns:a16="http://schemas.microsoft.com/office/drawing/2014/main" id="{A33F9945-5401-451A-8279-56C9261A85D5}"/>
              </a:ext>
            </a:extLst>
          </p:cNvPr>
          <p:cNvSpPr/>
          <p:nvPr/>
        </p:nvSpPr>
        <p:spPr>
          <a:xfrm>
            <a:off x="5243493" y="698459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SHARE</a:t>
            </a:r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E3A0728E-4D9A-468D-8867-1ACD748C4B75}"/>
              </a:ext>
            </a:extLst>
          </p:cNvPr>
          <p:cNvSpPr/>
          <p:nvPr/>
        </p:nvSpPr>
        <p:spPr>
          <a:xfrm>
            <a:off x="7294805" y="698459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3F18D2B-8E66-4096-8FD4-52096F8B0DF1}"/>
              </a:ext>
            </a:extLst>
          </p:cNvPr>
          <p:cNvSpPr/>
          <p:nvPr/>
        </p:nvSpPr>
        <p:spPr>
          <a:xfrm>
            <a:off x="9308281" y="698459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r-HR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VERAGE</a:t>
            </a:r>
            <a:endParaRPr lang="de-DE" sz="900" dirty="0">
              <a:solidFill>
                <a:schemeClr val="accent3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" name="Graphic 2">
            <a:extLst>
              <a:ext uri="{FF2B5EF4-FFF2-40B4-BE49-F238E27FC236}">
                <a16:creationId xmlns:a16="http://schemas.microsoft.com/office/drawing/2014/main" id="{130C7CF4-0A09-E800-3D14-13F0D20B12D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5400000">
            <a:off x="10515279" y="3100508"/>
            <a:ext cx="2482831" cy="656983"/>
          </a:xfrm>
          <a:prstGeom prst="rect">
            <a:avLst/>
          </a:prstGeom>
        </p:spPr>
      </p:pic>
      <p:sp>
        <p:nvSpPr>
          <p:cNvPr id="3" name="Rectangle 14">
            <a:extLst>
              <a:ext uri="{FF2B5EF4-FFF2-40B4-BE49-F238E27FC236}">
                <a16:creationId xmlns:a16="http://schemas.microsoft.com/office/drawing/2014/main" id="{10000D8B-63CB-FFE3-7932-302F900AAF9D}"/>
              </a:ext>
            </a:extLst>
          </p:cNvPr>
          <p:cNvSpPr/>
          <p:nvPr/>
        </p:nvSpPr>
        <p:spPr>
          <a:xfrm>
            <a:off x="2669445" y="703371"/>
            <a:ext cx="1583732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r-HR" sz="900" dirty="0">
                <a:solidFill>
                  <a:schemeClr val="tx1">
                    <a:lumMod val="60000"/>
                    <a:lumOff val="40000"/>
                  </a:schemeClr>
                </a:solidFill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OŽUJAK 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2024.</a:t>
            </a:r>
            <a:endParaRPr lang="de-DE" sz="900" dirty="0">
              <a:solidFill>
                <a:srgbClr val="75829A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13796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7484467"/>
              </p:ext>
            </p:extLst>
          </p:nvPr>
        </p:nvGraphicFramePr>
        <p:xfrm>
          <a:off x="2291512" y="688780"/>
          <a:ext cx="9287210" cy="559413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4709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90368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1019241">
                  <a:extLst>
                    <a:ext uri="{9D8B030D-6E8A-4147-A177-3AD203B41FA5}">
                      <a16:colId xmlns:a16="http://schemas.microsoft.com/office/drawing/2014/main" val="1066211400"/>
                    </a:ext>
                  </a:extLst>
                </a:gridCol>
                <a:gridCol w="2018558">
                  <a:extLst>
                    <a:ext uri="{9D8B030D-6E8A-4147-A177-3AD203B41FA5}">
                      <a16:colId xmlns:a16="http://schemas.microsoft.com/office/drawing/2014/main" val="2266377699"/>
                    </a:ext>
                  </a:extLst>
                </a:gridCol>
                <a:gridCol w="5044334">
                  <a:extLst>
                    <a:ext uri="{9D8B030D-6E8A-4147-A177-3AD203B41FA5}">
                      <a16:colId xmlns:a16="http://schemas.microsoft.com/office/drawing/2014/main" val="1868117407"/>
                    </a:ext>
                  </a:extLst>
                </a:gridCol>
              </a:tblGrid>
              <a:tr h="356958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6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3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ijateljsk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takmic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Hrvatska -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gipat</a:t>
                      </a:r>
                      <a:endParaRPr lang="en-GB" sz="9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7676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53 Prijateljska utakmica: Hrvatska - Tunis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7676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15 Tvoje lice zvuči poznato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7095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Nogomet - Konferencijska liga: Dinamo - Paok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9138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6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15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ijateljsk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takmic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Hrvatska -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gipat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misija</a:t>
                      </a:r>
                      <a:endParaRPr lang="en-GB" sz="9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656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15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ijateljsk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takmic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Hrvatska - Tunis,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misija</a:t>
                      </a:r>
                      <a:endParaRPr lang="en-GB" sz="9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7095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00 Dnevnik Nove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4175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2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umovi</a:t>
                      </a:r>
                      <a:endParaRPr lang="en-GB" sz="9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68442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4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15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uperpotjera</a:t>
                      </a:r>
                      <a:endParaRPr lang="en-GB" sz="9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8733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20 Tko to tamo pjeva?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7095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16 Top Gun: Maverick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7095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15 What's up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jever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Jug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7676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52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gomet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, Liga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vak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1/8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inal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Real Madrid - RB Leipzig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7095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0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nevnik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2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97510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24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latni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avez</a:t>
                      </a:r>
                      <a:endParaRPr lang="en-GB" sz="9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en-US" sz="1100" dirty="0">
                <a:solidFill>
                  <a:schemeClr val="accent4"/>
                </a:solidFill>
                <a:latin typeface="Open Sans Extrabold"/>
              </a:rPr>
              <a:t>EMISIJA</a:t>
            </a:r>
            <a:endParaRPr lang="hr-HR" sz="1100" dirty="0">
              <a:solidFill>
                <a:schemeClr val="accent4"/>
              </a:solidFill>
              <a:latin typeface="Open Sans Extrabold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19-23: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SVI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zemaljski i nezemaljski kanali</a:t>
            </a:r>
            <a:endParaRPr lang="hr-HR" sz="1100" dirty="0">
              <a:solidFill>
                <a:schemeClr val="accent2"/>
              </a:solidFill>
            </a:endParaRPr>
          </a:p>
          <a:p>
            <a:pPr lvl="0">
              <a:lnSpc>
                <a:spcPct val="90000"/>
              </a:lnSpc>
              <a:defRPr/>
            </a:pPr>
            <a:endParaRPr kumimoji="0" lang="en-US" sz="11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</a:rPr>
              <a:t>U listu najgledanijih emisija ne ulaze duplicirani programi i programi kraći od 15 min. Ako program ima više od jednog emitiranja</a:t>
            </a:r>
            <a:r>
              <a:rPr lang="en-US" sz="1100" dirty="0">
                <a:solidFill>
                  <a:schemeClr val="bg1"/>
                </a:solidFill>
              </a:rPr>
              <a:t>,</a:t>
            </a:r>
            <a:r>
              <a:rPr lang="hr-HR" sz="1100" dirty="0">
                <a:solidFill>
                  <a:schemeClr val="bg1"/>
                </a:solidFill>
              </a:rPr>
              <a:t> u izvještaju je naveden najgledaniji sadržaj. 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/>
            </a:endParaRP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10575333"/>
              </p:ext>
            </p:extLst>
          </p:nvPr>
        </p:nvGraphicFramePr>
        <p:xfrm>
          <a:off x="6622298" y="686418"/>
          <a:ext cx="1685491" cy="5606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15053432"/>
              </p:ext>
            </p:extLst>
          </p:nvPr>
        </p:nvGraphicFramePr>
        <p:xfrm>
          <a:off x="8198863" y="703147"/>
          <a:ext cx="1685491" cy="55941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16041142"/>
              </p:ext>
            </p:extLst>
          </p:nvPr>
        </p:nvGraphicFramePr>
        <p:xfrm>
          <a:off x="9893231" y="686418"/>
          <a:ext cx="1685491" cy="55941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9" name="Rectangle 14">
            <a:extLst>
              <a:ext uri="{FF2B5EF4-FFF2-40B4-BE49-F238E27FC236}">
                <a16:creationId xmlns:a16="http://schemas.microsoft.com/office/drawing/2014/main" id="{24936684-17F7-4C62-80D8-0A88E9D7E7DA}"/>
              </a:ext>
            </a:extLst>
          </p:cNvPr>
          <p:cNvSpPr/>
          <p:nvPr/>
        </p:nvSpPr>
        <p:spPr>
          <a:xfrm>
            <a:off x="6622299" y="459193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1D9A87FB-1AD6-476C-8D67-7FED47BA9E62}"/>
              </a:ext>
            </a:extLst>
          </p:cNvPr>
          <p:cNvSpPr/>
          <p:nvPr/>
        </p:nvSpPr>
        <p:spPr>
          <a:xfrm>
            <a:off x="8198863" y="459193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EACH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39C8A7D-3955-495D-92F7-585800716475}"/>
              </a:ext>
            </a:extLst>
          </p:cNvPr>
          <p:cNvSpPr/>
          <p:nvPr/>
        </p:nvSpPr>
        <p:spPr>
          <a:xfrm>
            <a:off x="9893231" y="459193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HARE</a:t>
            </a:r>
          </a:p>
        </p:txBody>
      </p:sp>
      <p:sp>
        <p:nvSpPr>
          <p:cNvPr id="22" name="Rectangle 14">
            <a:extLst>
              <a:ext uri="{FF2B5EF4-FFF2-40B4-BE49-F238E27FC236}">
                <a16:creationId xmlns:a16="http://schemas.microsoft.com/office/drawing/2014/main" id="{904421AD-8B5D-4D9F-B057-84ABB1548B71}"/>
              </a:ext>
            </a:extLst>
          </p:cNvPr>
          <p:cNvSpPr/>
          <p:nvPr/>
        </p:nvSpPr>
        <p:spPr>
          <a:xfrm>
            <a:off x="2786546" y="478365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ATUM</a:t>
            </a:r>
          </a:p>
        </p:txBody>
      </p:sp>
      <p:sp>
        <p:nvSpPr>
          <p:cNvPr id="23" name="Rectangle 14">
            <a:extLst>
              <a:ext uri="{FF2B5EF4-FFF2-40B4-BE49-F238E27FC236}">
                <a16:creationId xmlns:a16="http://schemas.microsoft.com/office/drawing/2014/main" id="{C8FFAE03-7BE3-4D9E-AEE3-113D2750FA5D}"/>
              </a:ext>
            </a:extLst>
          </p:cNvPr>
          <p:cNvSpPr/>
          <p:nvPr/>
        </p:nvSpPr>
        <p:spPr>
          <a:xfrm>
            <a:off x="3807178" y="478365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ANAL</a:t>
            </a:r>
          </a:p>
        </p:txBody>
      </p:sp>
      <p:sp>
        <p:nvSpPr>
          <p:cNvPr id="24" name="Rectangle 14">
            <a:extLst>
              <a:ext uri="{FF2B5EF4-FFF2-40B4-BE49-F238E27FC236}">
                <a16:creationId xmlns:a16="http://schemas.microsoft.com/office/drawing/2014/main" id="{782A3847-38B9-4890-A70A-FF408520DA12}"/>
              </a:ext>
            </a:extLst>
          </p:cNvPr>
          <p:cNvSpPr/>
          <p:nvPr/>
        </p:nvSpPr>
        <p:spPr>
          <a:xfrm>
            <a:off x="5246816" y="478365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MISIJA</a:t>
            </a:r>
          </a:p>
        </p:txBody>
      </p:sp>
      <p:pic>
        <p:nvPicPr>
          <p:cNvPr id="4" name="Graphic 2">
            <a:extLst>
              <a:ext uri="{FF2B5EF4-FFF2-40B4-BE49-F238E27FC236}">
                <a16:creationId xmlns:a16="http://schemas.microsoft.com/office/drawing/2014/main" id="{2D8E0FBA-A24B-48E2-4439-63E11824E82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5400000">
            <a:off x="10515279" y="3100508"/>
            <a:ext cx="2482831" cy="656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4064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4660681"/>
              </p:ext>
            </p:extLst>
          </p:nvPr>
        </p:nvGraphicFramePr>
        <p:xfrm>
          <a:off x="2295039" y="787850"/>
          <a:ext cx="9287210" cy="56412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4709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45868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1163333">
                  <a:extLst>
                    <a:ext uri="{9D8B030D-6E8A-4147-A177-3AD203B41FA5}">
                      <a16:colId xmlns:a16="http://schemas.microsoft.com/office/drawing/2014/main" val="1066211400"/>
                    </a:ext>
                  </a:extLst>
                </a:gridCol>
                <a:gridCol w="1918966">
                  <a:extLst>
                    <a:ext uri="{9D8B030D-6E8A-4147-A177-3AD203B41FA5}">
                      <a16:colId xmlns:a16="http://schemas.microsoft.com/office/drawing/2014/main" val="2266377699"/>
                    </a:ext>
                  </a:extLst>
                </a:gridCol>
                <a:gridCol w="5044334">
                  <a:extLst>
                    <a:ext uri="{9D8B030D-6E8A-4147-A177-3AD203B41FA5}">
                      <a16:colId xmlns:a16="http://schemas.microsoft.com/office/drawing/2014/main" val="1868117407"/>
                    </a:ext>
                  </a:extLst>
                </a:gridCol>
              </a:tblGrid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gomet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onferencijsk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g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Dinamo -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aok</a:t>
                      </a:r>
                      <a:endParaRPr lang="en-GB" sz="9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Nogomet - Liga prvaka: Bayern - Lazio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gomet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Liga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vak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Barcelona - Napoli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Nogomet - Liga prvaka: Arsenal - Porto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8755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0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misij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onferencijsk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Lig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gomet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Liga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vak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Real Madrid - Leipzig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7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45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ukomet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EHF LP: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k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Zagreb - Montpelli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83159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gomet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Liga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vak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Atletico Madrid - Inter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6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gomet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Španjolsk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g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Valencia - Real Madrid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6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gomet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Španjolsk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g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Athletic Bilbao - Barcelon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6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gomet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Španjolsk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g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Atletico Madrid - Barcelona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9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35 Dani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njeva</a:t>
                      </a:r>
                      <a:endParaRPr lang="en-GB" sz="9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0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misij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Liga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vaka</a:t>
                      </a:r>
                      <a:endParaRPr lang="en-GB" sz="9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6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gomet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Španjolsk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ga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Real Madrid - A. Bilbao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93618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3.2024.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1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3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en-GB" sz="9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gomet</a:t>
                      </a:r>
                      <a:r>
                        <a:rPr lang="en-GB" sz="9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Premier League: Sheffield Utd - Arsenal</a:t>
                      </a:r>
                    </a:p>
                  </a:txBody>
                  <a:tcPr marL="4763" marR="4763" marT="476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en-US" sz="1100" dirty="0">
                <a:solidFill>
                  <a:schemeClr val="accent4"/>
                </a:solidFill>
                <a:latin typeface="Open Sans Extrabold"/>
              </a:rPr>
              <a:t>EMISIJA</a:t>
            </a:r>
            <a:endParaRPr lang="hr-HR" sz="1100" dirty="0">
              <a:solidFill>
                <a:schemeClr val="accent4"/>
              </a:solidFill>
              <a:latin typeface="Open Sans Extrabold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19-23:</a:t>
            </a:r>
          </a:p>
          <a:p>
            <a:pPr lvl="0">
              <a:lnSpc>
                <a:spcPct val="90000"/>
              </a:lnSpc>
              <a:defRPr/>
            </a:pPr>
            <a:r>
              <a:rPr lang="en-US" sz="1100" dirty="0">
                <a:solidFill>
                  <a:schemeClr val="accent2"/>
                </a:solidFill>
                <a:latin typeface="Open Sans Extrabold"/>
              </a:rPr>
              <a:t>NEZEMALJSKI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nezemaljski kanali</a:t>
            </a:r>
            <a:endParaRPr lang="hr-HR" sz="1100" dirty="0">
              <a:solidFill>
                <a:schemeClr val="accent2"/>
              </a:solidFill>
            </a:endParaRPr>
          </a:p>
          <a:p>
            <a:pPr lvl="0">
              <a:lnSpc>
                <a:spcPct val="90000"/>
              </a:lnSpc>
              <a:defRPr/>
            </a:pPr>
            <a:endParaRPr kumimoji="0" lang="en-US" sz="11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</a:rPr>
              <a:t>U listu najgledanijih emisija ne ulaze duplicirani programi i programi kraći od 15 min. Ako program ima više od jednog emitiranja</a:t>
            </a:r>
            <a:r>
              <a:rPr lang="en-US" sz="1100" dirty="0">
                <a:solidFill>
                  <a:schemeClr val="bg1"/>
                </a:solidFill>
              </a:rPr>
              <a:t>,</a:t>
            </a:r>
            <a:r>
              <a:rPr lang="hr-HR" sz="1100" dirty="0">
                <a:solidFill>
                  <a:schemeClr val="bg1"/>
                </a:solidFill>
              </a:rPr>
              <a:t> u izvještaju je naveden najgledaniji sadržaj 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/>
            </a:endParaRP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24936684-17F7-4C62-80D8-0A88E9D7E7DA}"/>
              </a:ext>
            </a:extLst>
          </p:cNvPr>
          <p:cNvSpPr/>
          <p:nvPr/>
        </p:nvSpPr>
        <p:spPr>
          <a:xfrm>
            <a:off x="6640587" y="554804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1D9A87FB-1AD6-476C-8D67-7FED47BA9E62}"/>
              </a:ext>
            </a:extLst>
          </p:cNvPr>
          <p:cNvSpPr/>
          <p:nvPr/>
        </p:nvSpPr>
        <p:spPr>
          <a:xfrm>
            <a:off x="8155007" y="554804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EACH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39C8A7D-3955-495D-92F7-585800716475}"/>
              </a:ext>
            </a:extLst>
          </p:cNvPr>
          <p:cNvSpPr/>
          <p:nvPr/>
        </p:nvSpPr>
        <p:spPr>
          <a:xfrm>
            <a:off x="9911519" y="554804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HARE</a:t>
            </a:r>
          </a:p>
        </p:txBody>
      </p:sp>
      <p:sp>
        <p:nvSpPr>
          <p:cNvPr id="22" name="Rectangle 14">
            <a:extLst>
              <a:ext uri="{FF2B5EF4-FFF2-40B4-BE49-F238E27FC236}">
                <a16:creationId xmlns:a16="http://schemas.microsoft.com/office/drawing/2014/main" id="{904421AD-8B5D-4D9F-B057-84ABB1548B71}"/>
              </a:ext>
            </a:extLst>
          </p:cNvPr>
          <p:cNvSpPr/>
          <p:nvPr/>
        </p:nvSpPr>
        <p:spPr>
          <a:xfrm>
            <a:off x="2804834" y="573976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ATUM</a:t>
            </a:r>
          </a:p>
        </p:txBody>
      </p:sp>
      <p:sp>
        <p:nvSpPr>
          <p:cNvPr id="23" name="Rectangle 14">
            <a:extLst>
              <a:ext uri="{FF2B5EF4-FFF2-40B4-BE49-F238E27FC236}">
                <a16:creationId xmlns:a16="http://schemas.microsoft.com/office/drawing/2014/main" id="{C8FFAE03-7BE3-4D9E-AEE3-113D2750FA5D}"/>
              </a:ext>
            </a:extLst>
          </p:cNvPr>
          <p:cNvSpPr/>
          <p:nvPr/>
        </p:nvSpPr>
        <p:spPr>
          <a:xfrm>
            <a:off x="3829046" y="573976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ANAL</a:t>
            </a:r>
          </a:p>
        </p:txBody>
      </p:sp>
      <p:sp>
        <p:nvSpPr>
          <p:cNvPr id="24" name="Rectangle 14">
            <a:extLst>
              <a:ext uri="{FF2B5EF4-FFF2-40B4-BE49-F238E27FC236}">
                <a16:creationId xmlns:a16="http://schemas.microsoft.com/office/drawing/2014/main" id="{782A3847-38B9-4890-A70A-FF408520DA12}"/>
              </a:ext>
            </a:extLst>
          </p:cNvPr>
          <p:cNvSpPr/>
          <p:nvPr/>
        </p:nvSpPr>
        <p:spPr>
          <a:xfrm>
            <a:off x="5265104" y="573976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MISIJA</a:t>
            </a:r>
          </a:p>
        </p:txBody>
      </p:sp>
      <p:graphicFrame>
        <p:nvGraphicFramePr>
          <p:cNvPr id="5" name="Diagramm 5">
            <a:extLst>
              <a:ext uri="{FF2B5EF4-FFF2-40B4-BE49-F238E27FC236}">
                <a16:creationId xmlns:a16="http://schemas.microsoft.com/office/drawing/2014/main" id="{66AFE09E-77CC-AD9A-5355-59B25F4AC6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85880988"/>
              </p:ext>
            </p:extLst>
          </p:nvPr>
        </p:nvGraphicFramePr>
        <p:xfrm>
          <a:off x="6640587" y="787850"/>
          <a:ext cx="1872000" cy="5684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Diagramm 8">
            <a:extLst>
              <a:ext uri="{FF2B5EF4-FFF2-40B4-BE49-F238E27FC236}">
                <a16:creationId xmlns:a16="http://schemas.microsoft.com/office/drawing/2014/main" id="{17DCC2E4-D1B1-0F68-7FA0-D659D79053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27753465"/>
              </p:ext>
            </p:extLst>
          </p:nvPr>
        </p:nvGraphicFramePr>
        <p:xfrm>
          <a:off x="8155007" y="787850"/>
          <a:ext cx="1872000" cy="5684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Diagramm 11">
            <a:extLst>
              <a:ext uri="{FF2B5EF4-FFF2-40B4-BE49-F238E27FC236}">
                <a16:creationId xmlns:a16="http://schemas.microsoft.com/office/drawing/2014/main" id="{D339819E-051C-EDD0-D49E-AA14580B1E3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41767728"/>
              </p:ext>
            </p:extLst>
          </p:nvPr>
        </p:nvGraphicFramePr>
        <p:xfrm>
          <a:off x="9911519" y="787850"/>
          <a:ext cx="1872000" cy="5684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4" name="Graphic 2">
            <a:extLst>
              <a:ext uri="{FF2B5EF4-FFF2-40B4-BE49-F238E27FC236}">
                <a16:creationId xmlns:a16="http://schemas.microsoft.com/office/drawing/2014/main" id="{16276E23-CCDB-AB59-A69D-EB5397542E9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5400000">
            <a:off x="10515279" y="3100508"/>
            <a:ext cx="2482831" cy="656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0174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dscanner">
      <a:dk1>
        <a:srgbClr val="2F3540"/>
      </a:dk1>
      <a:lt1>
        <a:srgbClr val="FFFFFF"/>
      </a:lt1>
      <a:dk2>
        <a:srgbClr val="2F3540"/>
      </a:dk2>
      <a:lt2>
        <a:srgbClr val="FFFFFF"/>
      </a:lt2>
      <a:accent1>
        <a:srgbClr val="007787"/>
      </a:accent1>
      <a:accent2>
        <a:srgbClr val="5EC0ED"/>
      </a:accent2>
      <a:accent3>
        <a:srgbClr val="2EC4B6"/>
      </a:accent3>
      <a:accent4>
        <a:srgbClr val="FFC000"/>
      </a:accent4>
      <a:accent5>
        <a:srgbClr val="FF5050"/>
      </a:accent5>
      <a:accent6>
        <a:srgbClr val="D65495"/>
      </a:accent6>
      <a:hlink>
        <a:srgbClr val="2F3540"/>
      </a:hlink>
      <a:folHlink>
        <a:srgbClr val="2F3540"/>
      </a:folHlink>
    </a:clrScheme>
    <a:fontScheme name="Benutzerdefiniert 6">
      <a:majorFont>
        <a:latin typeface="Open Sans Extrabold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</a:schemeClr>
        </a:solidFill>
        <a:ln>
          <a:noFill/>
          <a:prstDash val="solid"/>
          <a:headEnd type="none" w="med" len="med"/>
          <a:tailEnd type="triangl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86878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adscanner">
    <a:dk1>
      <a:srgbClr val="2F3540"/>
    </a:dk1>
    <a:lt1>
      <a:srgbClr val="FFFFFF"/>
    </a:lt1>
    <a:dk2>
      <a:srgbClr val="2F3540"/>
    </a:dk2>
    <a:lt2>
      <a:srgbClr val="FFFFFF"/>
    </a:lt2>
    <a:accent1>
      <a:srgbClr val="007787"/>
    </a:accent1>
    <a:accent2>
      <a:srgbClr val="5EC0ED"/>
    </a:accent2>
    <a:accent3>
      <a:srgbClr val="2EC4B6"/>
    </a:accent3>
    <a:accent4>
      <a:srgbClr val="FFC000"/>
    </a:accent4>
    <a:accent5>
      <a:srgbClr val="FF5050"/>
    </a:accent5>
    <a:accent6>
      <a:srgbClr val="D65495"/>
    </a:accent6>
    <a:hlink>
      <a:srgbClr val="2F3540"/>
    </a:hlink>
    <a:folHlink>
      <a:srgbClr val="2F354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028</TotalTime>
  <Words>1357</Words>
  <Application>Microsoft Office PowerPoint</Application>
  <PresentationFormat>Widescreen</PresentationFormat>
  <Paragraphs>466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Calibri</vt:lpstr>
      <vt:lpstr>Museo 300</vt:lpstr>
      <vt:lpstr>Open Sans</vt:lpstr>
      <vt:lpstr>Open Sans Extrabold</vt:lpstr>
      <vt:lpstr>Open Sans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Benzon</dc:creator>
  <cp:keywords/>
  <dc:description/>
  <cp:lastModifiedBy>Masa Topic</cp:lastModifiedBy>
  <cp:revision>1324</cp:revision>
  <cp:lastPrinted>2016-03-30T09:24:25Z</cp:lastPrinted>
  <dcterms:created xsi:type="dcterms:W3CDTF">2015-04-13T19:03:49Z</dcterms:created>
  <dcterms:modified xsi:type="dcterms:W3CDTF">2024-04-04T07:44:33Z</dcterms:modified>
  <cp:category/>
  <cp:contentStatus/>
</cp:coreProperties>
</file>